
<file path=[Content_Types].xml><?xml version="1.0" encoding="utf-8"?>
<Types xmlns="http://schemas.openxmlformats.org/package/2006/content-types"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677" r:id="rId5"/>
  </p:sldMasterIdLst>
  <p:notesMasterIdLst>
    <p:notesMasterId r:id="rId14"/>
  </p:notesMasterIdLst>
  <p:handoutMasterIdLst>
    <p:handoutMasterId r:id="rId15"/>
  </p:handoutMasterIdLst>
  <p:sldIdLst>
    <p:sldId id="292" r:id="rId6"/>
    <p:sldId id="317" r:id="rId7"/>
    <p:sldId id="258" r:id="rId8"/>
    <p:sldId id="291" r:id="rId9"/>
    <p:sldId id="315" r:id="rId10"/>
    <p:sldId id="316" r:id="rId11"/>
    <p:sldId id="314" r:id="rId12"/>
    <p:sldId id="289" r:id="rId13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536" userDrawn="1">
          <p15:clr>
            <a:srgbClr val="A4A3A4"/>
          </p15:clr>
        </p15:guide>
        <p15:guide id="2" pos="3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4D6A"/>
    <a:srgbClr val="F6EE8A"/>
    <a:srgbClr val="E8D9B0"/>
    <a:srgbClr val="E95174"/>
    <a:srgbClr val="DCD3CC"/>
    <a:srgbClr val="7363A8"/>
    <a:srgbClr val="53FFF3"/>
    <a:srgbClr val="00E0D0"/>
    <a:srgbClr val="DCE9F7"/>
    <a:srgbClr val="E7E6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729EDA4-BBCA-46ED-9FFF-A52C8FB22F59}" v="10" dt="2025-10-17T09:25:25.728"/>
    <p1510:client id="{784865BA-1554-F63A-7D10-D19644A06244}" v="1" dt="2025-10-17T07:02:38.65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546" autoAdjust="0"/>
    <p:restoredTop sz="86410" autoAdjust="0"/>
  </p:normalViewPr>
  <p:slideViewPr>
    <p:cSldViewPr snapToGrid="0" showGuides="1">
      <p:cViewPr varScale="1">
        <p:scale>
          <a:sx n="63" d="100"/>
          <a:sy n="63" d="100"/>
        </p:scale>
        <p:origin x="1382" y="278"/>
      </p:cViewPr>
      <p:guideLst>
        <p:guide orient="horz" pos="1536"/>
        <p:guide pos="31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50" d="100"/>
        <a:sy n="150" d="100"/>
      </p:scale>
      <p:origin x="0" y="-13766"/>
    </p:cViewPr>
  </p:sorterViewPr>
  <p:notesViewPr>
    <p:cSldViewPr snapToGrid="0">
      <p:cViewPr varScale="1">
        <p:scale>
          <a:sx n="122" d="100"/>
          <a:sy n="122" d="100"/>
        </p:scale>
        <p:origin x="6040" y="19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5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notesMaster" Target="notesMasters/notesMaster1.xml"/><Relationship Id="rId22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aniel Laskewitz" userId="004e9a81-59d4-47b4-8bee-4f6da7cf9d9d" providerId="ADAL" clId="{B7E1987E-F849-430F-A364-DDFF2666125D}"/>
    <pc:docChg chg="custSel addSld delSld modSld delMainMaster">
      <pc:chgData name="Daniel Laskewitz" userId="004e9a81-59d4-47b4-8bee-4f6da7cf9d9d" providerId="ADAL" clId="{B7E1987E-F849-430F-A364-DDFF2666125D}" dt="2025-10-17T09:25:29.557" v="130" actId="207"/>
      <pc:docMkLst>
        <pc:docMk/>
      </pc:docMkLst>
      <pc:sldChg chg="del">
        <pc:chgData name="Daniel Laskewitz" userId="004e9a81-59d4-47b4-8bee-4f6da7cf9d9d" providerId="ADAL" clId="{B7E1987E-F849-430F-A364-DDFF2666125D}" dt="2025-10-16T19:20:32.344" v="1" actId="47"/>
        <pc:sldMkLst>
          <pc:docMk/>
          <pc:sldMk cId="0" sldId="256"/>
        </pc:sldMkLst>
      </pc:sldChg>
      <pc:sldChg chg="del">
        <pc:chgData name="Daniel Laskewitz" userId="004e9a81-59d4-47b4-8bee-4f6da7cf9d9d" providerId="ADAL" clId="{B7E1987E-F849-430F-A364-DDFF2666125D}" dt="2025-10-16T19:20:32.344" v="1" actId="47"/>
        <pc:sldMkLst>
          <pc:docMk/>
          <pc:sldMk cId="0" sldId="257"/>
        </pc:sldMkLst>
      </pc:sldChg>
      <pc:sldChg chg="add del">
        <pc:chgData name="Daniel Laskewitz" userId="004e9a81-59d4-47b4-8bee-4f6da7cf9d9d" providerId="ADAL" clId="{B7E1987E-F849-430F-A364-DDFF2666125D}" dt="2025-10-16T19:24:36.707" v="110"/>
        <pc:sldMkLst>
          <pc:docMk/>
          <pc:sldMk cId="507334446" sldId="258"/>
        </pc:sldMkLst>
      </pc:sldChg>
      <pc:sldChg chg="del">
        <pc:chgData name="Daniel Laskewitz" userId="004e9a81-59d4-47b4-8bee-4f6da7cf9d9d" providerId="ADAL" clId="{B7E1987E-F849-430F-A364-DDFF2666125D}" dt="2025-10-16T19:20:28.452" v="0" actId="47"/>
        <pc:sldMkLst>
          <pc:docMk/>
          <pc:sldMk cId="4181419580" sldId="258"/>
        </pc:sldMkLst>
      </pc:sldChg>
      <pc:sldChg chg="del">
        <pc:chgData name="Daniel Laskewitz" userId="004e9a81-59d4-47b4-8bee-4f6da7cf9d9d" providerId="ADAL" clId="{B7E1987E-F849-430F-A364-DDFF2666125D}" dt="2025-10-16T19:21:09.323" v="56" actId="47"/>
        <pc:sldMkLst>
          <pc:docMk/>
          <pc:sldMk cId="2775535166" sldId="275"/>
        </pc:sldMkLst>
      </pc:sldChg>
      <pc:sldChg chg="del">
        <pc:chgData name="Daniel Laskewitz" userId="004e9a81-59d4-47b4-8bee-4f6da7cf9d9d" providerId="ADAL" clId="{B7E1987E-F849-430F-A364-DDFF2666125D}" dt="2025-10-16T19:21:09.323" v="56" actId="47"/>
        <pc:sldMkLst>
          <pc:docMk/>
          <pc:sldMk cId="77554804" sldId="276"/>
        </pc:sldMkLst>
      </pc:sldChg>
      <pc:sldChg chg="del">
        <pc:chgData name="Daniel Laskewitz" userId="004e9a81-59d4-47b4-8bee-4f6da7cf9d9d" providerId="ADAL" clId="{B7E1987E-F849-430F-A364-DDFF2666125D}" dt="2025-10-16T19:21:09.323" v="56" actId="47"/>
        <pc:sldMkLst>
          <pc:docMk/>
          <pc:sldMk cId="2478079616" sldId="277"/>
        </pc:sldMkLst>
      </pc:sldChg>
      <pc:sldChg chg="del">
        <pc:chgData name="Daniel Laskewitz" userId="004e9a81-59d4-47b4-8bee-4f6da7cf9d9d" providerId="ADAL" clId="{B7E1987E-F849-430F-A364-DDFF2666125D}" dt="2025-10-16T19:21:09.323" v="56" actId="47"/>
        <pc:sldMkLst>
          <pc:docMk/>
          <pc:sldMk cId="1640288181" sldId="278"/>
        </pc:sldMkLst>
      </pc:sldChg>
      <pc:sldChg chg="del">
        <pc:chgData name="Daniel Laskewitz" userId="004e9a81-59d4-47b4-8bee-4f6da7cf9d9d" providerId="ADAL" clId="{B7E1987E-F849-430F-A364-DDFF2666125D}" dt="2025-10-16T19:21:09.323" v="56" actId="47"/>
        <pc:sldMkLst>
          <pc:docMk/>
          <pc:sldMk cId="1246021298" sldId="279"/>
        </pc:sldMkLst>
      </pc:sldChg>
      <pc:sldChg chg="del">
        <pc:chgData name="Daniel Laskewitz" userId="004e9a81-59d4-47b4-8bee-4f6da7cf9d9d" providerId="ADAL" clId="{B7E1987E-F849-430F-A364-DDFF2666125D}" dt="2025-10-16T19:21:09.323" v="56" actId="47"/>
        <pc:sldMkLst>
          <pc:docMk/>
          <pc:sldMk cId="2107888131" sldId="281"/>
        </pc:sldMkLst>
      </pc:sldChg>
      <pc:sldChg chg="del">
        <pc:chgData name="Daniel Laskewitz" userId="004e9a81-59d4-47b4-8bee-4f6da7cf9d9d" providerId="ADAL" clId="{B7E1987E-F849-430F-A364-DDFF2666125D}" dt="2025-10-16T19:21:09.323" v="56" actId="47"/>
        <pc:sldMkLst>
          <pc:docMk/>
          <pc:sldMk cId="3157109385" sldId="282"/>
        </pc:sldMkLst>
      </pc:sldChg>
      <pc:sldChg chg="del">
        <pc:chgData name="Daniel Laskewitz" userId="004e9a81-59d4-47b4-8bee-4f6da7cf9d9d" providerId="ADAL" clId="{B7E1987E-F849-430F-A364-DDFF2666125D}" dt="2025-10-16T19:21:09.323" v="56" actId="47"/>
        <pc:sldMkLst>
          <pc:docMk/>
          <pc:sldMk cId="2517140333" sldId="283"/>
        </pc:sldMkLst>
      </pc:sldChg>
      <pc:sldChg chg="del">
        <pc:chgData name="Daniel Laskewitz" userId="004e9a81-59d4-47b4-8bee-4f6da7cf9d9d" providerId="ADAL" clId="{B7E1987E-F849-430F-A364-DDFF2666125D}" dt="2025-10-16T19:21:09.323" v="56" actId="47"/>
        <pc:sldMkLst>
          <pc:docMk/>
          <pc:sldMk cId="2624021206" sldId="284"/>
        </pc:sldMkLst>
      </pc:sldChg>
      <pc:sldChg chg="del">
        <pc:chgData name="Daniel Laskewitz" userId="004e9a81-59d4-47b4-8bee-4f6da7cf9d9d" providerId="ADAL" clId="{B7E1987E-F849-430F-A364-DDFF2666125D}" dt="2025-10-16T19:21:09.323" v="56" actId="47"/>
        <pc:sldMkLst>
          <pc:docMk/>
          <pc:sldMk cId="3760906987" sldId="285"/>
        </pc:sldMkLst>
      </pc:sldChg>
      <pc:sldChg chg="del">
        <pc:chgData name="Daniel Laskewitz" userId="004e9a81-59d4-47b4-8bee-4f6da7cf9d9d" providerId="ADAL" clId="{B7E1987E-F849-430F-A364-DDFF2666125D}" dt="2025-10-16T19:21:09.323" v="56" actId="47"/>
        <pc:sldMkLst>
          <pc:docMk/>
          <pc:sldMk cId="4157533387" sldId="288"/>
        </pc:sldMkLst>
      </pc:sldChg>
      <pc:sldChg chg="add del mod modShow">
        <pc:chgData name="Daniel Laskewitz" userId="004e9a81-59d4-47b4-8bee-4f6da7cf9d9d" providerId="ADAL" clId="{B7E1987E-F849-430F-A364-DDFF2666125D}" dt="2025-10-16T19:24:39.700" v="111" actId="729"/>
        <pc:sldMkLst>
          <pc:docMk/>
          <pc:sldMk cId="2506187332" sldId="291"/>
        </pc:sldMkLst>
      </pc:sldChg>
      <pc:sldChg chg="addSp delSp modSp mod">
        <pc:chgData name="Daniel Laskewitz" userId="004e9a81-59d4-47b4-8bee-4f6da7cf9d9d" providerId="ADAL" clId="{B7E1987E-F849-430F-A364-DDFF2666125D}" dt="2025-10-16T19:21:03.342" v="55" actId="478"/>
        <pc:sldMkLst>
          <pc:docMk/>
          <pc:sldMk cId="3898447929" sldId="292"/>
        </pc:sldMkLst>
        <pc:spChg chg="add del mod">
          <ac:chgData name="Daniel Laskewitz" userId="004e9a81-59d4-47b4-8bee-4f6da7cf9d9d" providerId="ADAL" clId="{B7E1987E-F849-430F-A364-DDFF2666125D}" dt="2025-10-16T19:21:03.342" v="55" actId="478"/>
          <ac:spMkLst>
            <pc:docMk/>
            <pc:sldMk cId="3898447929" sldId="292"/>
            <ac:spMk id="3" creationId="{110861D5-BA4C-F1AB-63E7-7998F20A4619}"/>
          </ac:spMkLst>
        </pc:spChg>
        <pc:spChg chg="mod">
          <ac:chgData name="Daniel Laskewitz" userId="004e9a81-59d4-47b4-8bee-4f6da7cf9d9d" providerId="ADAL" clId="{B7E1987E-F849-430F-A364-DDFF2666125D}" dt="2025-10-16T19:20:58.820" v="53" actId="20577"/>
          <ac:spMkLst>
            <pc:docMk/>
            <pc:sldMk cId="3898447929" sldId="292"/>
            <ac:spMk id="7" creationId="{93A3B864-5E85-99D2-93E5-5CA1F4F35DC7}"/>
          </ac:spMkLst>
        </pc:spChg>
        <pc:spChg chg="del">
          <ac:chgData name="Daniel Laskewitz" userId="004e9a81-59d4-47b4-8bee-4f6da7cf9d9d" providerId="ADAL" clId="{B7E1987E-F849-430F-A364-DDFF2666125D}" dt="2025-10-16T19:21:02.027" v="54" actId="478"/>
          <ac:spMkLst>
            <pc:docMk/>
            <pc:sldMk cId="3898447929" sldId="292"/>
            <ac:spMk id="9" creationId="{485E0237-B9A1-0B58-E0AA-05EF84817EB4}"/>
          </ac:spMkLst>
        </pc:spChg>
      </pc:sldChg>
      <pc:sldChg chg="del">
        <pc:chgData name="Daniel Laskewitz" userId="004e9a81-59d4-47b4-8bee-4f6da7cf9d9d" providerId="ADAL" clId="{B7E1987E-F849-430F-A364-DDFF2666125D}" dt="2025-10-16T19:21:09.323" v="56" actId="47"/>
        <pc:sldMkLst>
          <pc:docMk/>
          <pc:sldMk cId="4182148033" sldId="293"/>
        </pc:sldMkLst>
      </pc:sldChg>
      <pc:sldChg chg="del">
        <pc:chgData name="Daniel Laskewitz" userId="004e9a81-59d4-47b4-8bee-4f6da7cf9d9d" providerId="ADAL" clId="{B7E1987E-F849-430F-A364-DDFF2666125D}" dt="2025-10-16T19:21:09.323" v="56" actId="47"/>
        <pc:sldMkLst>
          <pc:docMk/>
          <pc:sldMk cId="32955924" sldId="294"/>
        </pc:sldMkLst>
      </pc:sldChg>
      <pc:sldChg chg="del">
        <pc:chgData name="Daniel Laskewitz" userId="004e9a81-59d4-47b4-8bee-4f6da7cf9d9d" providerId="ADAL" clId="{B7E1987E-F849-430F-A364-DDFF2666125D}" dt="2025-10-16T19:21:09.323" v="56" actId="47"/>
        <pc:sldMkLst>
          <pc:docMk/>
          <pc:sldMk cId="2519727083" sldId="295"/>
        </pc:sldMkLst>
      </pc:sldChg>
      <pc:sldChg chg="del">
        <pc:chgData name="Daniel Laskewitz" userId="004e9a81-59d4-47b4-8bee-4f6da7cf9d9d" providerId="ADAL" clId="{B7E1987E-F849-430F-A364-DDFF2666125D}" dt="2025-10-16T19:21:09.323" v="56" actId="47"/>
        <pc:sldMkLst>
          <pc:docMk/>
          <pc:sldMk cId="66073738" sldId="296"/>
        </pc:sldMkLst>
      </pc:sldChg>
      <pc:sldChg chg="del">
        <pc:chgData name="Daniel Laskewitz" userId="004e9a81-59d4-47b4-8bee-4f6da7cf9d9d" providerId="ADAL" clId="{B7E1987E-F849-430F-A364-DDFF2666125D}" dt="2025-10-16T19:21:09.323" v="56" actId="47"/>
        <pc:sldMkLst>
          <pc:docMk/>
          <pc:sldMk cId="3514226361" sldId="297"/>
        </pc:sldMkLst>
      </pc:sldChg>
      <pc:sldChg chg="del">
        <pc:chgData name="Daniel Laskewitz" userId="004e9a81-59d4-47b4-8bee-4f6da7cf9d9d" providerId="ADAL" clId="{B7E1987E-F849-430F-A364-DDFF2666125D}" dt="2025-10-16T19:21:09.323" v="56" actId="47"/>
        <pc:sldMkLst>
          <pc:docMk/>
          <pc:sldMk cId="3905944101" sldId="301"/>
        </pc:sldMkLst>
      </pc:sldChg>
      <pc:sldChg chg="del">
        <pc:chgData name="Daniel Laskewitz" userId="004e9a81-59d4-47b4-8bee-4f6da7cf9d9d" providerId="ADAL" clId="{B7E1987E-F849-430F-A364-DDFF2666125D}" dt="2025-10-16T19:21:09.323" v="56" actId="47"/>
        <pc:sldMkLst>
          <pc:docMk/>
          <pc:sldMk cId="2662749588" sldId="302"/>
        </pc:sldMkLst>
      </pc:sldChg>
      <pc:sldChg chg="del">
        <pc:chgData name="Daniel Laskewitz" userId="004e9a81-59d4-47b4-8bee-4f6da7cf9d9d" providerId="ADAL" clId="{B7E1987E-F849-430F-A364-DDFF2666125D}" dt="2025-10-16T19:20:32.344" v="1" actId="47"/>
        <pc:sldMkLst>
          <pc:docMk/>
          <pc:sldMk cId="0" sldId="303"/>
        </pc:sldMkLst>
      </pc:sldChg>
      <pc:sldChg chg="del">
        <pc:chgData name="Daniel Laskewitz" userId="004e9a81-59d4-47b4-8bee-4f6da7cf9d9d" providerId="ADAL" clId="{B7E1987E-F849-430F-A364-DDFF2666125D}" dt="2025-10-16T19:20:35.245" v="2" actId="47"/>
        <pc:sldMkLst>
          <pc:docMk/>
          <pc:sldMk cId="3007319850" sldId="304"/>
        </pc:sldMkLst>
      </pc:sldChg>
      <pc:sldChg chg="del">
        <pc:chgData name="Daniel Laskewitz" userId="004e9a81-59d4-47b4-8bee-4f6da7cf9d9d" providerId="ADAL" clId="{B7E1987E-F849-430F-A364-DDFF2666125D}" dt="2025-10-16T19:20:35.245" v="2" actId="47"/>
        <pc:sldMkLst>
          <pc:docMk/>
          <pc:sldMk cId="2619084777" sldId="305"/>
        </pc:sldMkLst>
      </pc:sldChg>
      <pc:sldChg chg="del">
        <pc:chgData name="Daniel Laskewitz" userId="004e9a81-59d4-47b4-8bee-4f6da7cf9d9d" providerId="ADAL" clId="{B7E1987E-F849-430F-A364-DDFF2666125D}" dt="2025-10-16T19:21:09.323" v="56" actId="47"/>
        <pc:sldMkLst>
          <pc:docMk/>
          <pc:sldMk cId="4022266204" sldId="306"/>
        </pc:sldMkLst>
      </pc:sldChg>
      <pc:sldChg chg="del">
        <pc:chgData name="Daniel Laskewitz" userId="004e9a81-59d4-47b4-8bee-4f6da7cf9d9d" providerId="ADAL" clId="{B7E1987E-F849-430F-A364-DDFF2666125D}" dt="2025-10-16T19:21:09.323" v="56" actId="47"/>
        <pc:sldMkLst>
          <pc:docMk/>
          <pc:sldMk cId="1686998059" sldId="307"/>
        </pc:sldMkLst>
      </pc:sldChg>
      <pc:sldChg chg="modSp add del mod">
        <pc:chgData name="Daniel Laskewitz" userId="004e9a81-59d4-47b4-8bee-4f6da7cf9d9d" providerId="ADAL" clId="{B7E1987E-F849-430F-A364-DDFF2666125D}" dt="2025-10-16T19:22:50.285" v="104" actId="2696"/>
        <pc:sldMkLst>
          <pc:docMk/>
          <pc:sldMk cId="1736724297" sldId="313"/>
        </pc:sldMkLst>
        <pc:spChg chg="mod">
          <ac:chgData name="Daniel Laskewitz" userId="004e9a81-59d4-47b4-8bee-4f6da7cf9d9d" providerId="ADAL" clId="{B7E1987E-F849-430F-A364-DDFF2666125D}" dt="2025-10-16T19:21:38.183" v="59" actId="20577"/>
          <ac:spMkLst>
            <pc:docMk/>
            <pc:sldMk cId="1736724297" sldId="313"/>
            <ac:spMk id="2" creationId="{19E7FAFC-600B-2FD9-8733-715FBE42DD30}"/>
          </ac:spMkLst>
        </pc:spChg>
        <pc:spChg chg="mod">
          <ac:chgData name="Daniel Laskewitz" userId="004e9a81-59d4-47b4-8bee-4f6da7cf9d9d" providerId="ADAL" clId="{B7E1987E-F849-430F-A364-DDFF2666125D}" dt="2025-10-16T19:21:48.123" v="97" actId="20577"/>
          <ac:spMkLst>
            <pc:docMk/>
            <pc:sldMk cId="1736724297" sldId="313"/>
            <ac:spMk id="3" creationId="{CF709404-4FF5-109A-D679-A631D47DCBC6}"/>
          </ac:spMkLst>
        </pc:spChg>
      </pc:sldChg>
      <pc:sldChg chg="modSp add mod">
        <pc:chgData name="Daniel Laskewitz" userId="004e9a81-59d4-47b4-8bee-4f6da7cf9d9d" providerId="ADAL" clId="{B7E1987E-F849-430F-A364-DDFF2666125D}" dt="2025-10-17T09:25:29.557" v="130" actId="207"/>
        <pc:sldMkLst>
          <pc:docMk/>
          <pc:sldMk cId="1041961282" sldId="314"/>
        </pc:sldMkLst>
        <pc:spChg chg="mod">
          <ac:chgData name="Daniel Laskewitz" userId="004e9a81-59d4-47b4-8bee-4f6da7cf9d9d" providerId="ADAL" clId="{B7E1987E-F849-430F-A364-DDFF2666125D}" dt="2025-10-16T19:22:40.814" v="100" actId="20577"/>
          <ac:spMkLst>
            <pc:docMk/>
            <pc:sldMk cId="1041961282" sldId="314"/>
            <ac:spMk id="2" creationId="{19E7FAFC-600B-2FD9-8733-715FBE42DD30}"/>
          </ac:spMkLst>
        </pc:spChg>
        <pc:spChg chg="mod">
          <ac:chgData name="Daniel Laskewitz" userId="004e9a81-59d4-47b4-8bee-4f6da7cf9d9d" providerId="ADAL" clId="{B7E1987E-F849-430F-A364-DDFF2666125D}" dt="2025-10-17T09:25:29.557" v="130" actId="207"/>
          <ac:spMkLst>
            <pc:docMk/>
            <pc:sldMk cId="1041961282" sldId="314"/>
            <ac:spMk id="3" creationId="{CF709404-4FF5-109A-D679-A631D47DCBC6}"/>
          </ac:spMkLst>
        </pc:spChg>
      </pc:sldChg>
      <pc:sldMasterChg chg="delSldLayout">
        <pc:chgData name="Daniel Laskewitz" userId="004e9a81-59d4-47b4-8bee-4f6da7cf9d9d" providerId="ADAL" clId="{B7E1987E-F849-430F-A364-DDFF2666125D}" dt="2025-10-16T19:21:09.323" v="56" actId="47"/>
        <pc:sldMasterMkLst>
          <pc:docMk/>
          <pc:sldMasterMk cId="2020574204" sldId="2147483648"/>
        </pc:sldMasterMkLst>
        <pc:sldLayoutChg chg="del">
          <pc:chgData name="Daniel Laskewitz" userId="004e9a81-59d4-47b4-8bee-4f6da7cf9d9d" providerId="ADAL" clId="{B7E1987E-F849-430F-A364-DDFF2666125D}" dt="2025-10-16T19:20:28.452" v="0" actId="47"/>
          <pc:sldLayoutMkLst>
            <pc:docMk/>
            <pc:sldMasterMk cId="2020574204" sldId="2147483648"/>
            <pc:sldLayoutMk cId="2774138570" sldId="2147483677"/>
          </pc:sldLayoutMkLst>
        </pc:sldLayoutChg>
        <pc:sldLayoutChg chg="del">
          <pc:chgData name="Daniel Laskewitz" userId="004e9a81-59d4-47b4-8bee-4f6da7cf9d9d" providerId="ADAL" clId="{B7E1987E-F849-430F-A364-DDFF2666125D}" dt="2025-10-16T19:21:09.323" v="56" actId="47"/>
          <pc:sldLayoutMkLst>
            <pc:docMk/>
            <pc:sldMasterMk cId="2020574204" sldId="2147483648"/>
            <pc:sldLayoutMk cId="368709914" sldId="2147483684"/>
          </pc:sldLayoutMkLst>
        </pc:sldLayoutChg>
      </pc:sldMasterChg>
      <pc:sldMasterChg chg="del delSldLayout">
        <pc:chgData name="Daniel Laskewitz" userId="004e9a81-59d4-47b4-8bee-4f6da7cf9d9d" providerId="ADAL" clId="{B7E1987E-F849-430F-A364-DDFF2666125D}" dt="2025-10-16T19:21:09.323" v="56" actId="47"/>
        <pc:sldMasterMkLst>
          <pc:docMk/>
          <pc:sldMasterMk cId="3589580110" sldId="2147483678"/>
        </pc:sldMasterMkLst>
        <pc:sldLayoutChg chg="del">
          <pc:chgData name="Daniel Laskewitz" userId="004e9a81-59d4-47b4-8bee-4f6da7cf9d9d" providerId="ADAL" clId="{B7E1987E-F849-430F-A364-DDFF2666125D}" dt="2025-10-16T19:21:09.323" v="56" actId="47"/>
          <pc:sldLayoutMkLst>
            <pc:docMk/>
            <pc:sldMasterMk cId="3589580110" sldId="2147483678"/>
            <pc:sldLayoutMk cId="832837523" sldId="2147483679"/>
          </pc:sldLayoutMkLst>
        </pc:sldLayoutChg>
        <pc:sldLayoutChg chg="del">
          <pc:chgData name="Daniel Laskewitz" userId="004e9a81-59d4-47b4-8bee-4f6da7cf9d9d" providerId="ADAL" clId="{B7E1987E-F849-430F-A364-DDFF2666125D}" dt="2025-10-16T19:21:09.323" v="56" actId="47"/>
          <pc:sldLayoutMkLst>
            <pc:docMk/>
            <pc:sldMasterMk cId="3589580110" sldId="2147483678"/>
            <pc:sldLayoutMk cId="3004154692" sldId="2147483680"/>
          </pc:sldLayoutMkLst>
        </pc:sldLayoutChg>
        <pc:sldLayoutChg chg="del">
          <pc:chgData name="Daniel Laskewitz" userId="004e9a81-59d4-47b4-8bee-4f6da7cf9d9d" providerId="ADAL" clId="{B7E1987E-F849-430F-A364-DDFF2666125D}" dt="2025-10-16T19:21:09.323" v="56" actId="47"/>
          <pc:sldLayoutMkLst>
            <pc:docMk/>
            <pc:sldMasterMk cId="3589580110" sldId="2147483678"/>
            <pc:sldLayoutMk cId="906044514" sldId="2147483681"/>
          </pc:sldLayoutMkLst>
        </pc:sldLayoutChg>
        <pc:sldLayoutChg chg="del">
          <pc:chgData name="Daniel Laskewitz" userId="004e9a81-59d4-47b4-8bee-4f6da7cf9d9d" providerId="ADAL" clId="{B7E1987E-F849-430F-A364-DDFF2666125D}" dt="2025-10-16T19:21:09.323" v="56" actId="47"/>
          <pc:sldLayoutMkLst>
            <pc:docMk/>
            <pc:sldMasterMk cId="3589580110" sldId="2147483678"/>
            <pc:sldLayoutMk cId="2120907446" sldId="2147483682"/>
          </pc:sldLayoutMkLst>
        </pc:sldLayoutChg>
        <pc:sldLayoutChg chg="del">
          <pc:chgData name="Daniel Laskewitz" userId="004e9a81-59d4-47b4-8bee-4f6da7cf9d9d" providerId="ADAL" clId="{B7E1987E-F849-430F-A364-DDFF2666125D}" dt="2025-10-16T19:21:09.323" v="56" actId="47"/>
          <pc:sldLayoutMkLst>
            <pc:docMk/>
            <pc:sldMasterMk cId="3589580110" sldId="2147483678"/>
            <pc:sldLayoutMk cId="65439216" sldId="2147483683"/>
          </pc:sldLayoutMkLst>
        </pc:sldLayoutChg>
      </pc:sldMasterChg>
    </pc:docChg>
  </pc:docChgLst>
  <pc:docChgLst>
    <pc:chgData name="Mats Necker" userId="2d97bddf-6881-4b42-b7ae-84f5465d8fc5" providerId="ADAL" clId="{63498A1D-F51A-4DD9-B154-72067851BFA6}"/>
    <pc:docChg chg="custSel addSld modSld">
      <pc:chgData name="Mats Necker" userId="2d97bddf-6881-4b42-b7ae-84f5465d8fc5" providerId="ADAL" clId="{63498A1D-F51A-4DD9-B154-72067851BFA6}" dt="2025-10-17T07:06:01.673" v="336" actId="20577"/>
      <pc:docMkLst>
        <pc:docMk/>
      </pc:docMkLst>
      <pc:sldChg chg="addSp delSp modSp mod modClrScheme chgLayout">
        <pc:chgData name="Mats Necker" userId="2d97bddf-6881-4b42-b7ae-84f5465d8fc5" providerId="ADAL" clId="{63498A1D-F51A-4DD9-B154-72067851BFA6}" dt="2025-10-17T07:04:02.592" v="14" actId="20577"/>
        <pc:sldMkLst>
          <pc:docMk/>
          <pc:sldMk cId="4036331507" sldId="315"/>
        </pc:sldMkLst>
        <pc:spChg chg="del mod ord">
          <ac:chgData name="Mats Necker" userId="2d97bddf-6881-4b42-b7ae-84f5465d8fc5" providerId="ADAL" clId="{63498A1D-F51A-4DD9-B154-72067851BFA6}" dt="2025-10-17T07:03:56.447" v="0" actId="700"/>
          <ac:spMkLst>
            <pc:docMk/>
            <pc:sldMk cId="4036331507" sldId="315"/>
            <ac:spMk id="2" creationId="{91739E02-3D3F-4B9E-9CAC-D8F7ABDC632A}"/>
          </ac:spMkLst>
        </pc:spChg>
        <pc:spChg chg="add mod ord">
          <ac:chgData name="Mats Necker" userId="2d97bddf-6881-4b42-b7ae-84f5465d8fc5" providerId="ADAL" clId="{63498A1D-F51A-4DD9-B154-72067851BFA6}" dt="2025-10-17T07:04:02.592" v="14" actId="20577"/>
          <ac:spMkLst>
            <pc:docMk/>
            <pc:sldMk cId="4036331507" sldId="315"/>
            <ac:spMk id="3" creationId="{5138508E-CF35-8014-2AF8-83D6E1785284}"/>
          </ac:spMkLst>
        </pc:spChg>
        <pc:spChg chg="add mod ord">
          <ac:chgData name="Mats Necker" userId="2d97bddf-6881-4b42-b7ae-84f5465d8fc5" providerId="ADAL" clId="{63498A1D-F51A-4DD9-B154-72067851BFA6}" dt="2025-10-17T07:03:56.447" v="0" actId="700"/>
          <ac:spMkLst>
            <pc:docMk/>
            <pc:sldMk cId="4036331507" sldId="315"/>
            <ac:spMk id="4" creationId="{AFA1314D-06B0-8750-FEB1-50B579618106}"/>
          </ac:spMkLst>
        </pc:spChg>
      </pc:sldChg>
      <pc:sldChg chg="addSp delSp modSp new mod modClrScheme chgLayout">
        <pc:chgData name="Mats Necker" userId="2d97bddf-6881-4b42-b7ae-84f5465d8fc5" providerId="ADAL" clId="{63498A1D-F51A-4DD9-B154-72067851BFA6}" dt="2025-10-17T07:05:15.648" v="251" actId="20577"/>
        <pc:sldMkLst>
          <pc:docMk/>
          <pc:sldMk cId="1508709715" sldId="316"/>
        </pc:sldMkLst>
        <pc:spChg chg="del mod ord">
          <ac:chgData name="Mats Necker" userId="2d97bddf-6881-4b42-b7ae-84f5465d8fc5" providerId="ADAL" clId="{63498A1D-F51A-4DD9-B154-72067851BFA6}" dt="2025-10-17T07:04:29.084" v="16" actId="700"/>
          <ac:spMkLst>
            <pc:docMk/>
            <pc:sldMk cId="1508709715" sldId="316"/>
            <ac:spMk id="2" creationId="{E4784DFC-2764-D3FE-D80A-A0730B9C7CB8}"/>
          </ac:spMkLst>
        </pc:spChg>
        <pc:spChg chg="del mod ord">
          <ac:chgData name="Mats Necker" userId="2d97bddf-6881-4b42-b7ae-84f5465d8fc5" providerId="ADAL" clId="{63498A1D-F51A-4DD9-B154-72067851BFA6}" dt="2025-10-17T07:04:29.084" v="16" actId="700"/>
          <ac:spMkLst>
            <pc:docMk/>
            <pc:sldMk cId="1508709715" sldId="316"/>
            <ac:spMk id="3" creationId="{56F415AF-DABF-8267-7382-C5EDBAD787FE}"/>
          </ac:spMkLst>
        </pc:spChg>
        <pc:spChg chg="add mod ord">
          <ac:chgData name="Mats Necker" userId="2d97bddf-6881-4b42-b7ae-84f5465d8fc5" providerId="ADAL" clId="{63498A1D-F51A-4DD9-B154-72067851BFA6}" dt="2025-10-17T07:04:38.111" v="56" actId="20577"/>
          <ac:spMkLst>
            <pc:docMk/>
            <pc:sldMk cId="1508709715" sldId="316"/>
            <ac:spMk id="4" creationId="{DDC1D35A-D69B-6E35-74F9-9E0649F99EBF}"/>
          </ac:spMkLst>
        </pc:spChg>
        <pc:spChg chg="add mod ord">
          <ac:chgData name="Mats Necker" userId="2d97bddf-6881-4b42-b7ae-84f5465d8fc5" providerId="ADAL" clId="{63498A1D-F51A-4DD9-B154-72067851BFA6}" dt="2025-10-17T07:05:15.648" v="251" actId="20577"/>
          <ac:spMkLst>
            <pc:docMk/>
            <pc:sldMk cId="1508709715" sldId="316"/>
            <ac:spMk id="5" creationId="{1B42C674-8605-F79F-20DB-0DA7F66073E8}"/>
          </ac:spMkLst>
        </pc:spChg>
      </pc:sldChg>
      <pc:sldChg chg="addSp delSp modSp new mod modClrScheme chgLayout">
        <pc:chgData name="Mats Necker" userId="2d97bddf-6881-4b42-b7ae-84f5465d8fc5" providerId="ADAL" clId="{63498A1D-F51A-4DD9-B154-72067851BFA6}" dt="2025-10-17T07:06:01.673" v="336" actId="20577"/>
        <pc:sldMkLst>
          <pc:docMk/>
          <pc:sldMk cId="2099898887" sldId="317"/>
        </pc:sldMkLst>
        <pc:spChg chg="del mod ord">
          <ac:chgData name="Mats Necker" userId="2d97bddf-6881-4b42-b7ae-84f5465d8fc5" providerId="ADAL" clId="{63498A1D-F51A-4DD9-B154-72067851BFA6}" dt="2025-10-17T07:05:37.010" v="253" actId="700"/>
          <ac:spMkLst>
            <pc:docMk/>
            <pc:sldMk cId="2099898887" sldId="317"/>
            <ac:spMk id="2" creationId="{1C013EE5-11C6-F5AD-7E19-56372FF37515}"/>
          </ac:spMkLst>
        </pc:spChg>
        <pc:spChg chg="del mod ord">
          <ac:chgData name="Mats Necker" userId="2d97bddf-6881-4b42-b7ae-84f5465d8fc5" providerId="ADAL" clId="{63498A1D-F51A-4DD9-B154-72067851BFA6}" dt="2025-10-17T07:05:37.010" v="253" actId="700"/>
          <ac:spMkLst>
            <pc:docMk/>
            <pc:sldMk cId="2099898887" sldId="317"/>
            <ac:spMk id="3" creationId="{ED8EA55F-752D-52E6-4A12-A2C95261C769}"/>
          </ac:spMkLst>
        </pc:spChg>
        <pc:spChg chg="del">
          <ac:chgData name="Mats Necker" userId="2d97bddf-6881-4b42-b7ae-84f5465d8fc5" providerId="ADAL" clId="{63498A1D-F51A-4DD9-B154-72067851BFA6}" dt="2025-10-17T07:05:37.010" v="253" actId="700"/>
          <ac:spMkLst>
            <pc:docMk/>
            <pc:sldMk cId="2099898887" sldId="317"/>
            <ac:spMk id="4" creationId="{75D8CC18-26A3-1F0A-6A47-A15C4DF1CAF9}"/>
          </ac:spMkLst>
        </pc:spChg>
        <pc:spChg chg="add mod ord">
          <ac:chgData name="Mats Necker" userId="2d97bddf-6881-4b42-b7ae-84f5465d8fc5" providerId="ADAL" clId="{63498A1D-F51A-4DD9-B154-72067851BFA6}" dt="2025-10-17T07:05:51.319" v="292" actId="20577"/>
          <ac:spMkLst>
            <pc:docMk/>
            <pc:sldMk cId="2099898887" sldId="317"/>
            <ac:spMk id="5" creationId="{81345AB9-B93D-7A46-EB16-078D3E1D048A}"/>
          </ac:spMkLst>
        </pc:spChg>
        <pc:spChg chg="add mod ord">
          <ac:chgData name="Mats Necker" userId="2d97bddf-6881-4b42-b7ae-84f5465d8fc5" providerId="ADAL" clId="{63498A1D-F51A-4DD9-B154-72067851BFA6}" dt="2025-10-17T07:06:01.673" v="336" actId="20577"/>
          <ac:spMkLst>
            <pc:docMk/>
            <pc:sldMk cId="2099898887" sldId="317"/>
            <ac:spMk id="6" creationId="{0ACF75D4-DEE0-C19B-ADEF-53C876122D09}"/>
          </ac:spMkLst>
        </pc:spChg>
      </pc:sldChg>
    </pc:docChg>
  </pc:docChgLst>
  <pc:docChgLst>
    <pc:chgData name="Mats Necker" userId="S::mats_nckr.de#ext#@microsoft.onmicrosoft.com::7b7f720c-bbb1-4567-830d-88a700af588c" providerId="AD" clId="Web-{784865BA-1554-F63A-7D10-D19644A06244}"/>
    <pc:docChg chg="addSld">
      <pc:chgData name="Mats Necker" userId="S::mats_nckr.de#ext#@microsoft.onmicrosoft.com::7b7f720c-bbb1-4567-830d-88a700af588c" providerId="AD" clId="Web-{784865BA-1554-F63A-7D10-D19644A06244}" dt="2025-10-17T07:02:38.642" v="0"/>
      <pc:docMkLst>
        <pc:docMk/>
      </pc:docMkLst>
      <pc:sldChg chg="new">
        <pc:chgData name="Mats Necker" userId="S::mats_nckr.de#ext#@microsoft.onmicrosoft.com::7b7f720c-bbb1-4567-830d-88a700af588c" providerId="AD" clId="Web-{784865BA-1554-F63A-7D10-D19644A06244}" dt="2025-10-17T07:02:38.642" v="0"/>
        <pc:sldMkLst>
          <pc:docMk/>
          <pc:sldMk cId="4036331507" sldId="315"/>
        </pc:sldMkLst>
      </pc:sldChg>
    </pc:docChg>
  </pc:docChgLst>
  <pc:docChgLst>
    <pc:chgData name="Aaron Rendell" userId="f27b094e-8669-4d60-ad27-0d6d2af67856" providerId="ADAL" clId="{2BB4FE60-7229-4C74-8123-17E913BF2CC0}"/>
    <pc:docChg chg="undo custSel addSld delSld modSld modMainMaster">
      <pc:chgData name="Aaron Rendell" userId="f27b094e-8669-4d60-ad27-0d6d2af67856" providerId="ADAL" clId="{2BB4FE60-7229-4C74-8123-17E913BF2CC0}" dt="2025-10-11T13:14:01.523" v="257"/>
      <pc:docMkLst>
        <pc:docMk/>
      </pc:docMkLst>
      <pc:sldMasterChg chg="modSldLayout">
        <pc:chgData name="Aaron Rendell" userId="f27b094e-8669-4d60-ad27-0d6d2af67856" providerId="ADAL" clId="{2BB4FE60-7229-4C74-8123-17E913BF2CC0}" dt="2025-10-11T13:10:36.444" v="214" actId="478"/>
        <pc:sldMasterMkLst>
          <pc:docMk/>
          <pc:sldMasterMk cId="2020574204" sldId="2147483648"/>
        </pc:sldMasterMkLst>
        <pc:sldLayoutChg chg="addSp delSp modSp mod">
          <pc:chgData name="Aaron Rendell" userId="f27b094e-8669-4d60-ad27-0d6d2af67856" providerId="ADAL" clId="{2BB4FE60-7229-4C74-8123-17E913BF2CC0}" dt="2025-10-11T13:10:36.444" v="214" actId="478"/>
          <pc:sldLayoutMkLst>
            <pc:docMk/>
            <pc:sldMasterMk cId="2020574204" sldId="2147483648"/>
            <pc:sldLayoutMk cId="3147334202" sldId="2147483665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27E3961-5613-64C6-63C3-6085D0CDAE5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06D1F08-FF42-95F6-3130-AE63E56048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D26A2A-0A96-0647-84E5-C82F2EFD9474}" type="datetimeFigureOut">
              <a:rPr lang="en-US" smtClean="0"/>
              <a:t>10/17/2025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D5B35B-A046-EC3C-A80E-3D9D12C1498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202DDE3-703C-8B4C-9506-EC0A39AACDD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B8DC1D1-B6C2-C644-8BF1-C34DBFFE1C7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347936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2B40C3B-E28A-4854-8EDA-E7F8F6F6FFEF}" type="datetimeFigureOut">
              <a:rPr lang="zh-CN" altLang="en-US" smtClean="0"/>
              <a:t>2025/10/17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17105BD-6D6F-49DB-9DE4-D4A6452D7E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26651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MANDATORY SLID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17105BD-6D6F-49DB-9DE4-D4A6452D7E5F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780407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D96F93-2DC2-9DEC-2694-454EF684A39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9A19417-8157-D832-66D4-EA195216D1B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1910106-A4D0-4D2C-4418-28291FAB4C5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882" b="0" i="0" u="none" strike="noStrike" kern="1200" dirty="0">
                <a:solidFill>
                  <a:schemeClr val="tx1"/>
                </a:solidFill>
                <a:effectLst/>
                <a:latin typeface="Segoe UI" panose="020B0502040204020203" pitchFamily="34" charset="0"/>
                <a:ea typeface="+mn-ea"/>
                <a:cs typeface="+mn-cs"/>
              </a:rPr>
              <a:t>Thinking harder is great, but sometimes we need to steer our agents a certain direction and have more fine grain control over the output. That’s what Prompts enable us to do. </a:t>
            </a:r>
          </a:p>
          <a:p>
            <a:endParaRPr lang="en-US" sz="882" b="0" i="0" u="none" strike="noStrike" kern="1200" dirty="0">
              <a:solidFill>
                <a:schemeClr val="tx1"/>
              </a:solidFill>
              <a:effectLst/>
              <a:latin typeface="Segoe UI" panose="020B0502040204020203" pitchFamily="34" charset="0"/>
              <a:ea typeface="+mn-ea"/>
              <a:cs typeface="+mn-cs"/>
            </a:endParaRPr>
          </a:p>
          <a:p>
            <a:r>
              <a:rPr lang="en-US" sz="882" b="0" i="0" u="none" strike="noStrike" kern="1200" dirty="0">
                <a:solidFill>
                  <a:schemeClr val="tx1"/>
                </a:solidFill>
                <a:effectLst/>
                <a:latin typeface="Segoe UI" panose="020B0502040204020203" pitchFamily="34" charset="0"/>
                <a:ea typeface="+mn-ea"/>
                <a:cs typeface="+mn-cs"/>
              </a:rPr>
              <a:t>We can create a prompt for a specific task, specifying the instructions and desired output and integrate that with our Agents to execute based on certain conditions through a topic. </a:t>
            </a:r>
          </a:p>
          <a:p>
            <a:endParaRPr lang="en-US" sz="882" b="0" i="0" u="none" strike="noStrike" kern="1200" dirty="0">
              <a:solidFill>
                <a:schemeClr val="tx1"/>
              </a:solidFill>
              <a:effectLst/>
              <a:latin typeface="Segoe UI" panose="020B0502040204020203" pitchFamily="34" charset="0"/>
              <a:ea typeface="+mn-ea"/>
              <a:cs typeface="+mn-cs"/>
            </a:endParaRPr>
          </a:p>
          <a:p>
            <a:r>
              <a:rPr lang="en-US" sz="882" b="0" i="0" u="none" strike="noStrike" kern="1200" dirty="0">
                <a:solidFill>
                  <a:schemeClr val="tx1"/>
                </a:solidFill>
                <a:effectLst/>
                <a:latin typeface="Segoe UI" panose="020B0502040204020203" pitchFamily="34" charset="0"/>
                <a:ea typeface="+mn-ea"/>
                <a:cs typeface="+mn-cs"/>
              </a:rPr>
              <a:t>With Copilot Studio, you can choose the best model for each task—whether it’s GPT-4o mini, GPT-4o, or another specialized model.</a:t>
            </a:r>
          </a:p>
          <a:p>
            <a:r>
              <a:rPr lang="en-US" sz="882" b="0" i="0" u="none" strike="noStrike" kern="1200" dirty="0">
                <a:solidFill>
                  <a:schemeClr val="tx1"/>
                </a:solidFill>
                <a:effectLst/>
                <a:latin typeface="Segoe UI" panose="020B0502040204020203" pitchFamily="34" charset="0"/>
                <a:ea typeface="+mn-ea"/>
                <a:cs typeface="+mn-cs"/>
              </a:rPr>
              <a:t>Define input variables to process text, documents, or images, and add enterprise data as knowledge from Dataverse.</a:t>
            </a:r>
          </a:p>
          <a:p>
            <a:r>
              <a:rPr lang="en-US" sz="882" b="0" i="0" u="none" strike="noStrike" kern="1200" dirty="0">
                <a:solidFill>
                  <a:schemeClr val="tx1"/>
                </a:solidFill>
                <a:effectLst/>
                <a:latin typeface="Segoe UI" panose="020B0502040204020203" pitchFamily="34" charset="0"/>
                <a:ea typeface="+mn-ea"/>
                <a:cs typeface="+mn-cs"/>
              </a:rPr>
              <a:t>Draft precise prompts to give your agents clear instructions, and use prebuilt templates or Copilot’s suggestions to get started quickly.</a:t>
            </a:r>
          </a:p>
          <a:p>
            <a:r>
              <a:rPr lang="en-US" sz="882" b="0" i="0" u="none" strike="noStrike" kern="1200" dirty="0">
                <a:solidFill>
                  <a:schemeClr val="tx1"/>
                </a:solidFill>
                <a:effectLst/>
                <a:latin typeface="Segoe UI" panose="020B0502040204020203" pitchFamily="34" charset="0"/>
                <a:ea typeface="+mn-ea"/>
                <a:cs typeface="+mn-cs"/>
              </a:rPr>
              <a:t>You can even define specific output formats, like JSON, and test AI actions directly in your workflow.</a:t>
            </a:r>
          </a:p>
          <a:p>
            <a:r>
              <a:rPr lang="en-US" sz="882" b="0" i="0" u="none" strike="noStrike" kern="1200" dirty="0">
                <a:solidFill>
                  <a:schemeClr val="tx1"/>
                </a:solidFill>
                <a:effectLst/>
                <a:latin typeface="Segoe UI" panose="020B0502040204020203" pitchFamily="34" charset="0"/>
                <a:ea typeface="+mn-ea"/>
                <a:cs typeface="+mn-cs"/>
              </a:rPr>
              <a:t>The key is flexibility: you can apply models and customize prompts to fit your unique business needs, ensuring your agents deliver the right results every time.</a:t>
            </a:r>
          </a:p>
          <a:p>
            <a:pPr>
              <a:lnSpc>
                <a:spcPct val="114999"/>
              </a:lnSpc>
              <a:spcAft>
                <a:spcPts val="800"/>
              </a:spcAft>
              <a:buNone/>
            </a:pPr>
            <a:endParaRPr lang="en-US" sz="1800" kern="100" dirty="0">
              <a:ea typeface="Calibri"/>
              <a:cs typeface="Segoe UI" panose="020B0502040204020203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43BC7E-5BA6-3F84-73D8-2916DCBA6CC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081C747-9184-4587-B7D4-019B41EA66C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959123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8B44F6-E4D2-3130-093C-082075D423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7D7202F-4A9D-F771-F24B-2AC968910C8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15F55B0-3E38-1AE7-F0D5-D8AFBBAEDF1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lex’s agents are even more effective when they can tap into </a:t>
            </a:r>
            <a:r>
              <a:rPr lang="en-US" dirty="0" err="1"/>
              <a:t>Zava’s</a:t>
            </a:r>
            <a:r>
              <a:rPr lang="en-US" dirty="0"/>
              <a:t> unique knowledge base.</a:t>
            </a:r>
            <a:br>
              <a:rPr lang="en-US" dirty="0"/>
            </a:br>
            <a:r>
              <a:rPr lang="en-US" dirty="0"/>
              <a:t>With Azure AI Search, Alex can connect internal documents, supplier data, and product catalogs to their agents.</a:t>
            </a:r>
            <a:br>
              <a:rPr lang="en-US" dirty="0"/>
            </a:br>
            <a:r>
              <a:rPr lang="en-US" dirty="0"/>
              <a:t>This gives the agents context-specific intelligence, whether Alex is using RAG on vectorized data or a no-code knowledge connection.</a:t>
            </a:r>
            <a:br>
              <a:rPr lang="en-US" dirty="0"/>
            </a:br>
            <a:r>
              <a:rPr lang="en-US" dirty="0"/>
              <a:t>Now, instead of generic answers, Alex’s agents respond with information pulled directly from </a:t>
            </a:r>
            <a:r>
              <a:rPr lang="en-US" dirty="0" err="1"/>
              <a:t>Zava’s</a:t>
            </a:r>
            <a:r>
              <a:rPr lang="en-US" dirty="0"/>
              <a:t> own systems.</a:t>
            </a:r>
            <a:endParaRPr lang="en-US" sz="882" b="0" i="0" u="none" strike="noStrike" kern="1200" dirty="0">
              <a:solidFill>
                <a:schemeClr val="tx1"/>
              </a:solidFill>
              <a:effectLst/>
              <a:latin typeface="Segoe UI" panose="020B0502040204020203" pitchFamily="34" charset="0"/>
              <a:ea typeface="+mn-ea"/>
              <a:cs typeface="+mn-cs"/>
            </a:endParaRPr>
          </a:p>
          <a:p>
            <a:endParaRPr lang="en-US" sz="882" b="0" i="0" u="none" strike="noStrike" kern="1200" dirty="0">
              <a:solidFill>
                <a:schemeClr val="tx1"/>
              </a:solidFill>
              <a:effectLst/>
              <a:latin typeface="Segoe UI" panose="020B0502040204020203" pitchFamily="34" charset="0"/>
              <a:ea typeface="+mn-ea"/>
              <a:cs typeface="+mn-cs"/>
            </a:endParaRPr>
          </a:p>
          <a:p>
            <a:r>
              <a:rPr lang="en-US" sz="882" b="0" i="0" u="none" strike="noStrike" kern="1200" dirty="0">
                <a:solidFill>
                  <a:schemeClr val="tx1"/>
                </a:solidFill>
                <a:effectLst/>
                <a:latin typeface="Segoe UI" panose="020B0502040204020203" pitchFamily="34" charset="0"/>
                <a:ea typeface="+mn-ea"/>
                <a:cs typeface="+mn-cs"/>
              </a:rPr>
              <a:t>Another powerful capability: bringing your own knowledge into Copilot Studio using Azure AI Search.</a:t>
            </a:r>
          </a:p>
          <a:p>
            <a:r>
              <a:rPr lang="en-US" sz="882" b="0" i="0" u="none" strike="noStrike" kern="1200" dirty="0">
                <a:solidFill>
                  <a:schemeClr val="tx1"/>
                </a:solidFill>
                <a:effectLst/>
                <a:latin typeface="Segoe UI" panose="020B0502040204020203" pitchFamily="34" charset="0"/>
                <a:ea typeface="+mn-ea"/>
                <a:cs typeface="+mn-cs"/>
              </a:rPr>
              <a:t>Agents can access a diverse portfolio of AI models from Azure AI Foundry and leverage your company’s knowledge stored in Azure.</a:t>
            </a:r>
          </a:p>
          <a:p>
            <a:r>
              <a:rPr lang="en-US" sz="882" b="0" i="0" u="none" strike="noStrike" kern="1200" dirty="0">
                <a:solidFill>
                  <a:schemeClr val="tx1"/>
                </a:solidFill>
                <a:effectLst/>
                <a:latin typeface="Segoe UI" panose="020B0502040204020203" pitchFamily="34" charset="0"/>
                <a:ea typeface="+mn-ea"/>
                <a:cs typeface="+mn-cs"/>
              </a:rPr>
              <a:t>With custom Retrieval-Augmented Generation (RAG) built on vectorized indices, you can unlock and utilize enterprise data for your agents—without writing code.</a:t>
            </a:r>
          </a:p>
          <a:p>
            <a:r>
              <a:rPr lang="en-US" sz="882" b="0" i="0" u="none" strike="noStrike" kern="1200" dirty="0">
                <a:solidFill>
                  <a:schemeClr val="tx1"/>
                </a:solidFill>
                <a:effectLst/>
                <a:latin typeface="Segoe UI" panose="020B0502040204020203" pitchFamily="34" charset="0"/>
                <a:ea typeface="+mn-ea"/>
                <a:cs typeface="+mn-cs"/>
              </a:rPr>
              <a:t>This makes it easy to create intuitive, knowledge-rich agents that deliver accurate, context-aware responses using your organization’s unique data assets.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BD9713-31AB-D6DA-F5EB-22FC8196722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DC9712-05E4-4D02-B545-0DE9625B2F3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6302158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MANDATORY SLIDE – “Please use the QR code to provide session feedback.”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17105BD-6D6F-49DB-9DE4-D4A6452D7E5F}" type="slidenum">
              <a:rPr lang="zh-CN" altLang="en-US" smtClean="0"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353823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microsoft.com/office/2007/relationships/hdphoto" Target="../media/hdphoto1.wdp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6.jp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7.jpg"/><Relationship Id="rId4" Type="http://schemas.openxmlformats.org/officeDocument/2006/relationships/image" Target="../media/image16.jp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2.jp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image" Target="../media/image23.jp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6.jpg"/><Relationship Id="rId4" Type="http://schemas.openxmlformats.org/officeDocument/2006/relationships/image" Target="../media/image25.jp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7.jpg"/><Relationship Id="rId5" Type="http://schemas.openxmlformats.org/officeDocument/2006/relationships/image" Target="../media/image17.jpg"/><Relationship Id="rId4" Type="http://schemas.openxmlformats.org/officeDocument/2006/relationships/image" Target="../media/image16.jp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6.jp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7.jpg"/><Relationship Id="rId4" Type="http://schemas.openxmlformats.org/officeDocument/2006/relationships/image" Target="../media/image16.jp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2.jpeg"/><Relationship Id="rId5" Type="http://schemas.openxmlformats.org/officeDocument/2006/relationships/image" Target="../media/image31.jpeg"/><Relationship Id="rId4" Type="http://schemas.openxmlformats.org/officeDocument/2006/relationships/image" Target="../media/image30.jpeg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emf"/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Image and logo">
    <p:bg>
      <p:bgPr>
        <a:solidFill>
          <a:schemeClr val="accent3">
            <a:alpha val="2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Graphic 21">
            <a:extLst>
              <a:ext uri="{FF2B5EF4-FFF2-40B4-BE49-F238E27FC236}">
                <a16:creationId xmlns:a16="http://schemas.microsoft.com/office/drawing/2014/main" id="{38062A02-43F2-3BC4-405C-ECB9E8CFB3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996" r="14116" b="23204"/>
          <a:stretch/>
        </p:blipFill>
        <p:spPr>
          <a:xfrm rot="16200000">
            <a:off x="5884579" y="428650"/>
            <a:ext cx="7559040" cy="5939742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7EC2501B-DEA6-190E-3633-E32F635B7C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84764" y="1986926"/>
            <a:ext cx="5257793" cy="2057441"/>
          </a:xfrm>
        </p:spPr>
        <p:txBody>
          <a:bodyPr>
            <a:noAutofit/>
          </a:bodyPr>
          <a:lstStyle/>
          <a:p>
            <a:r>
              <a:rPr lang="en-GB" noProof="0"/>
              <a:t>Click to edit Master title style</a:t>
            </a:r>
            <a:endParaRPr lang="en-US" noProof="0" dirty="0"/>
          </a:p>
        </p:txBody>
      </p:sp>
      <p:cxnSp>
        <p:nvCxnSpPr>
          <p:cNvPr id="24" name="Straight Connector 2">
            <a:extLst>
              <a:ext uri="{FF2B5EF4-FFF2-40B4-BE49-F238E27FC236}">
                <a16:creationId xmlns:a16="http://schemas.microsoft.com/office/drawing/2014/main" id="{F1FCCFDB-D985-4322-AC87-F69214893708}"/>
              </a:ext>
            </a:extLst>
          </p:cNvPr>
          <p:cNvCxnSpPr/>
          <p:nvPr userDrawn="1"/>
        </p:nvCxnSpPr>
        <p:spPr>
          <a:xfrm>
            <a:off x="1509005" y="4172084"/>
            <a:ext cx="0" cy="760288"/>
          </a:xfrm>
          <a:prstGeom prst="line">
            <a:avLst/>
          </a:prstGeom>
          <a:noFill/>
          <a:ln w="19050" cap="flat" cmpd="sng" algn="ctr">
            <a:solidFill>
              <a:srgbClr val="00E0D0"/>
            </a:solidFill>
            <a:prstDash val="solid"/>
            <a:miter lim="800000"/>
          </a:ln>
          <a:effectLst/>
        </p:spPr>
      </p:cxnSp>
      <p:sp>
        <p:nvSpPr>
          <p:cNvPr id="27" name="Content placeholder 47" descr="Click icon to add picture">
            <a:extLst>
              <a:ext uri="{FF2B5EF4-FFF2-40B4-BE49-F238E27FC236}">
                <a16:creationId xmlns:a16="http://schemas.microsoft.com/office/drawing/2014/main" id="{EA8265B5-83C5-4AE9-88AB-3F2443B57F0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601365" y="4172084"/>
            <a:ext cx="5092859" cy="76028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800" b="0">
                <a:solidFill>
                  <a:schemeClr val="accent6"/>
                </a:solidFill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noProof="0"/>
              <a:t>Click to edit Master title style </a:t>
            </a:r>
          </a:p>
        </p:txBody>
      </p:sp>
      <p:sp>
        <p:nvSpPr>
          <p:cNvPr id="47" name="Content placeholder 47">
            <a:extLst>
              <a:ext uri="{FF2B5EF4-FFF2-40B4-BE49-F238E27FC236}">
                <a16:creationId xmlns:a16="http://schemas.microsoft.com/office/drawing/2014/main" id="{0FFAAB58-ABE4-41AC-B94E-432936CE0301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6762877" y="1025036"/>
            <a:ext cx="4405503" cy="5066346"/>
          </a:xfrm>
          <a:custGeom>
            <a:avLst/>
            <a:gdLst>
              <a:gd name="connsiteX0" fmla="*/ 0 w 4816475"/>
              <a:gd name="connsiteY0" fmla="*/ 2407444 h 4814888"/>
              <a:gd name="connsiteX1" fmla="*/ 1203722 w 4816475"/>
              <a:gd name="connsiteY1" fmla="*/ 1 h 4814888"/>
              <a:gd name="connsiteX2" fmla="*/ 3612753 w 4816475"/>
              <a:gd name="connsiteY2" fmla="*/ 1 h 4814888"/>
              <a:gd name="connsiteX3" fmla="*/ 4816475 w 4816475"/>
              <a:gd name="connsiteY3" fmla="*/ 2407444 h 4814888"/>
              <a:gd name="connsiteX4" fmla="*/ 3612753 w 4816475"/>
              <a:gd name="connsiteY4" fmla="*/ 4814887 h 4814888"/>
              <a:gd name="connsiteX5" fmla="*/ 1203722 w 4816475"/>
              <a:gd name="connsiteY5" fmla="*/ 4814887 h 4814888"/>
              <a:gd name="connsiteX6" fmla="*/ 0 w 4816475"/>
              <a:gd name="connsiteY6" fmla="*/ 2407444 h 4814888"/>
              <a:gd name="connsiteX0" fmla="*/ 0 w 4816475"/>
              <a:gd name="connsiteY0" fmla="*/ 2407443 h 4814886"/>
              <a:gd name="connsiteX1" fmla="*/ 2199402 w 4816475"/>
              <a:gd name="connsiteY1" fmla="*/ 243840 h 4814886"/>
              <a:gd name="connsiteX2" fmla="*/ 3612753 w 4816475"/>
              <a:gd name="connsiteY2" fmla="*/ 0 h 4814886"/>
              <a:gd name="connsiteX3" fmla="*/ 4816475 w 4816475"/>
              <a:gd name="connsiteY3" fmla="*/ 2407443 h 4814886"/>
              <a:gd name="connsiteX4" fmla="*/ 3612753 w 4816475"/>
              <a:gd name="connsiteY4" fmla="*/ 4814886 h 4814886"/>
              <a:gd name="connsiteX5" fmla="*/ 1203722 w 4816475"/>
              <a:gd name="connsiteY5" fmla="*/ 4814886 h 4814886"/>
              <a:gd name="connsiteX6" fmla="*/ 0 w 4816475"/>
              <a:gd name="connsiteY6" fmla="*/ 2407443 h 4814886"/>
              <a:gd name="connsiteX0" fmla="*/ 0 w 4816475"/>
              <a:gd name="connsiteY0" fmla="*/ 2163603 h 4571046"/>
              <a:gd name="connsiteX1" fmla="*/ 2199402 w 4816475"/>
              <a:gd name="connsiteY1" fmla="*/ 0 h 4571046"/>
              <a:gd name="connsiteX2" fmla="*/ 4608433 w 4816475"/>
              <a:gd name="connsiteY2" fmla="*/ 721360 h 4571046"/>
              <a:gd name="connsiteX3" fmla="*/ 4816475 w 4816475"/>
              <a:gd name="connsiteY3" fmla="*/ 2163603 h 4571046"/>
              <a:gd name="connsiteX4" fmla="*/ 3612753 w 4816475"/>
              <a:gd name="connsiteY4" fmla="*/ 4571046 h 4571046"/>
              <a:gd name="connsiteX5" fmla="*/ 1203722 w 4816475"/>
              <a:gd name="connsiteY5" fmla="*/ 4571046 h 4571046"/>
              <a:gd name="connsiteX6" fmla="*/ 0 w 4816475"/>
              <a:gd name="connsiteY6" fmla="*/ 2163603 h 4571046"/>
              <a:gd name="connsiteX0" fmla="*/ 0 w 4958715"/>
              <a:gd name="connsiteY0" fmla="*/ 2163603 h 4571046"/>
              <a:gd name="connsiteX1" fmla="*/ 2199402 w 4958715"/>
              <a:gd name="connsiteY1" fmla="*/ 0 h 4571046"/>
              <a:gd name="connsiteX2" fmla="*/ 4608433 w 4958715"/>
              <a:gd name="connsiteY2" fmla="*/ 721360 h 4571046"/>
              <a:gd name="connsiteX3" fmla="*/ 4958715 w 4958715"/>
              <a:gd name="connsiteY3" fmla="*/ 2803683 h 4571046"/>
              <a:gd name="connsiteX4" fmla="*/ 3612753 w 4958715"/>
              <a:gd name="connsiteY4" fmla="*/ 4571046 h 4571046"/>
              <a:gd name="connsiteX5" fmla="*/ 1203722 w 4958715"/>
              <a:gd name="connsiteY5" fmla="*/ 4571046 h 4571046"/>
              <a:gd name="connsiteX6" fmla="*/ 0 w 4958715"/>
              <a:gd name="connsiteY6" fmla="*/ 2163603 h 4571046"/>
              <a:gd name="connsiteX0" fmla="*/ 0 w 4916043"/>
              <a:gd name="connsiteY0" fmla="*/ 1273587 h 4571046"/>
              <a:gd name="connsiteX1" fmla="*/ 2156730 w 4916043"/>
              <a:gd name="connsiteY1" fmla="*/ 0 h 4571046"/>
              <a:gd name="connsiteX2" fmla="*/ 4565761 w 4916043"/>
              <a:gd name="connsiteY2" fmla="*/ 721360 h 4571046"/>
              <a:gd name="connsiteX3" fmla="*/ 4916043 w 4916043"/>
              <a:gd name="connsiteY3" fmla="*/ 2803683 h 4571046"/>
              <a:gd name="connsiteX4" fmla="*/ 3570081 w 4916043"/>
              <a:gd name="connsiteY4" fmla="*/ 4571046 h 4571046"/>
              <a:gd name="connsiteX5" fmla="*/ 1161050 w 4916043"/>
              <a:gd name="connsiteY5" fmla="*/ 4571046 h 4571046"/>
              <a:gd name="connsiteX6" fmla="*/ 0 w 4916043"/>
              <a:gd name="connsiteY6" fmla="*/ 1273587 h 4571046"/>
              <a:gd name="connsiteX0" fmla="*/ 0 w 4916043"/>
              <a:gd name="connsiteY0" fmla="*/ 1273587 h 4571046"/>
              <a:gd name="connsiteX1" fmla="*/ 2156730 w 4916043"/>
              <a:gd name="connsiteY1" fmla="*/ 0 h 4571046"/>
              <a:gd name="connsiteX2" fmla="*/ 4565761 w 4916043"/>
              <a:gd name="connsiteY2" fmla="*/ 721360 h 4571046"/>
              <a:gd name="connsiteX3" fmla="*/ 4916043 w 4916043"/>
              <a:gd name="connsiteY3" fmla="*/ 2803683 h 4571046"/>
              <a:gd name="connsiteX4" fmla="*/ 3570081 w 4916043"/>
              <a:gd name="connsiteY4" fmla="*/ 4571046 h 4571046"/>
              <a:gd name="connsiteX5" fmla="*/ 21098 w 4916043"/>
              <a:gd name="connsiteY5" fmla="*/ 3815142 h 4571046"/>
              <a:gd name="connsiteX6" fmla="*/ 0 w 4916043"/>
              <a:gd name="connsiteY6" fmla="*/ 1273587 h 4571046"/>
              <a:gd name="connsiteX0" fmla="*/ 0 w 4916043"/>
              <a:gd name="connsiteY0" fmla="*/ 1273587 h 5066346"/>
              <a:gd name="connsiteX1" fmla="*/ 2156730 w 4916043"/>
              <a:gd name="connsiteY1" fmla="*/ 0 h 5066346"/>
              <a:gd name="connsiteX2" fmla="*/ 4565761 w 4916043"/>
              <a:gd name="connsiteY2" fmla="*/ 721360 h 5066346"/>
              <a:gd name="connsiteX3" fmla="*/ 4916043 w 4916043"/>
              <a:gd name="connsiteY3" fmla="*/ 2803683 h 5066346"/>
              <a:gd name="connsiteX4" fmla="*/ 2236581 w 4916043"/>
              <a:gd name="connsiteY4" fmla="*/ 5066346 h 5066346"/>
              <a:gd name="connsiteX5" fmla="*/ 21098 w 4916043"/>
              <a:gd name="connsiteY5" fmla="*/ 3815142 h 5066346"/>
              <a:gd name="connsiteX6" fmla="*/ 0 w 4916043"/>
              <a:gd name="connsiteY6" fmla="*/ 1273587 h 5066346"/>
              <a:gd name="connsiteX0" fmla="*/ 0 w 4565761"/>
              <a:gd name="connsiteY0" fmla="*/ 1273587 h 5066346"/>
              <a:gd name="connsiteX1" fmla="*/ 2156730 w 4565761"/>
              <a:gd name="connsiteY1" fmla="*/ 0 h 5066346"/>
              <a:gd name="connsiteX2" fmla="*/ 4565761 w 4565761"/>
              <a:gd name="connsiteY2" fmla="*/ 721360 h 5066346"/>
              <a:gd name="connsiteX3" fmla="*/ 4405503 w 4565761"/>
              <a:gd name="connsiteY3" fmla="*/ 3801903 h 5066346"/>
              <a:gd name="connsiteX4" fmla="*/ 2236581 w 4565761"/>
              <a:gd name="connsiteY4" fmla="*/ 5066346 h 5066346"/>
              <a:gd name="connsiteX5" fmla="*/ 21098 w 4565761"/>
              <a:gd name="connsiteY5" fmla="*/ 3815142 h 5066346"/>
              <a:gd name="connsiteX6" fmla="*/ 0 w 4565761"/>
              <a:gd name="connsiteY6" fmla="*/ 1273587 h 5066346"/>
              <a:gd name="connsiteX0" fmla="*/ 0 w 4405503"/>
              <a:gd name="connsiteY0" fmla="*/ 1273587 h 5066346"/>
              <a:gd name="connsiteX1" fmla="*/ 2156730 w 4405503"/>
              <a:gd name="connsiteY1" fmla="*/ 0 h 5066346"/>
              <a:gd name="connsiteX2" fmla="*/ 4398121 w 4405503"/>
              <a:gd name="connsiteY2" fmla="*/ 1277620 h 5066346"/>
              <a:gd name="connsiteX3" fmla="*/ 4405503 w 4405503"/>
              <a:gd name="connsiteY3" fmla="*/ 3801903 h 5066346"/>
              <a:gd name="connsiteX4" fmla="*/ 2236581 w 4405503"/>
              <a:gd name="connsiteY4" fmla="*/ 5066346 h 5066346"/>
              <a:gd name="connsiteX5" fmla="*/ 21098 w 4405503"/>
              <a:gd name="connsiteY5" fmla="*/ 3815142 h 5066346"/>
              <a:gd name="connsiteX6" fmla="*/ 0 w 4405503"/>
              <a:gd name="connsiteY6" fmla="*/ 1273587 h 5066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405503" h="5066346">
                <a:moveTo>
                  <a:pt x="0" y="1273587"/>
                </a:moveTo>
                <a:lnTo>
                  <a:pt x="2156730" y="0"/>
                </a:lnTo>
                <a:lnTo>
                  <a:pt x="4398121" y="1277620"/>
                </a:lnTo>
                <a:cubicBezTo>
                  <a:pt x="4400582" y="2119048"/>
                  <a:pt x="4403042" y="2960475"/>
                  <a:pt x="4405503" y="3801903"/>
                </a:cubicBezTo>
                <a:lnTo>
                  <a:pt x="2236581" y="5066346"/>
                </a:lnTo>
                <a:lnTo>
                  <a:pt x="21098" y="3815142"/>
                </a:lnTo>
                <a:lnTo>
                  <a:pt x="0" y="1273587"/>
                </a:lnTo>
                <a:close/>
              </a:path>
            </a:pathLst>
          </a:custGeom>
          <a:ln w="41275">
            <a:noFill/>
            <a:prstDash val="dash"/>
          </a:ln>
        </p:spPr>
        <p:txBody>
          <a:bodyPr vert="horz" lIns="91440" tIns="45720" rIns="91440" bIns="45720" rtlCol="0" anchor="ctr">
            <a:noAutofit/>
          </a:bodyPr>
          <a:lstStyle>
            <a:lvl1pPr algn="ctr">
              <a:defRPr lang="en-US" altLang="zh-CN" sz="1050" noProof="0" dirty="0"/>
            </a:lvl1pPr>
          </a:lstStyle>
          <a:p>
            <a:pPr marL="0" lvl="0" indent="0">
              <a:buFontTx/>
              <a:buNone/>
            </a:pPr>
            <a:r>
              <a:rPr lang="en-GB" altLang="zh-CN" noProof="0"/>
              <a:t>Click icon to add picture</a:t>
            </a:r>
            <a:endParaRPr lang="en-US" altLang="zh-CN" noProof="0" dirty="0"/>
          </a:p>
        </p:txBody>
      </p:sp>
      <p:sp>
        <p:nvSpPr>
          <p:cNvPr id="9" name="Freeform: Shape 11">
            <a:extLst>
              <a:ext uri="{FF2B5EF4-FFF2-40B4-BE49-F238E27FC236}">
                <a16:creationId xmlns:a16="http://schemas.microsoft.com/office/drawing/2014/main" id="{9ECA281C-F2CB-AE9D-DCD6-F94D3FEE2E67}"/>
              </a:ext>
            </a:extLst>
          </p:cNvPr>
          <p:cNvSpPr/>
          <p:nvPr userDrawn="1"/>
        </p:nvSpPr>
        <p:spPr>
          <a:xfrm>
            <a:off x="7441324" y="5568778"/>
            <a:ext cx="829927" cy="949454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98682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94698" y="2946400"/>
                  <a:pt x="4398682" y="3789083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solidFill>
            <a:schemeClr val="accent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sterama Text SemiBold"/>
              <a:ea typeface="+mn-ea"/>
              <a:cs typeface="+mn-cs"/>
            </a:endParaRPr>
          </a:p>
        </p:txBody>
      </p:sp>
      <p:sp>
        <p:nvSpPr>
          <p:cNvPr id="23" name="Freeform: Shape 11">
            <a:extLst>
              <a:ext uri="{FF2B5EF4-FFF2-40B4-BE49-F238E27FC236}">
                <a16:creationId xmlns:a16="http://schemas.microsoft.com/office/drawing/2014/main" id="{8635CBF7-AEF1-98F3-395E-5FBF0D2C11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358497" y="384518"/>
            <a:ext cx="1637958" cy="1873859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98682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94698" y="2946400"/>
                  <a:pt x="4398682" y="3789083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noFill/>
          <a:ln w="19050" cap="flat" cmpd="sng" algn="ctr">
            <a:solidFill>
              <a:srgbClr val="4BBBC4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sterama Text SemiBold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966495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28">
          <p15:clr>
            <a:srgbClr val="FBAE40"/>
          </p15:clr>
        </p15:guide>
        <p15:guide id="2" orient="horz" pos="52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desig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4">
            <a:extLst>
              <a:ext uri="{FF2B5EF4-FFF2-40B4-BE49-F238E27FC236}">
                <a16:creationId xmlns:a16="http://schemas.microsoft.com/office/drawing/2014/main" id="{05751864-B11A-0286-13EA-2AC2A2C8DD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1709" y="955342"/>
            <a:ext cx="10889796" cy="118519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0" name="Table placeholder">
            <a:extLst>
              <a:ext uri="{FF2B5EF4-FFF2-40B4-BE49-F238E27FC236}">
                <a16:creationId xmlns:a16="http://schemas.microsoft.com/office/drawing/2014/main" id="{CFC5FF09-DE50-4155-81A0-5DD9B700F205}"/>
              </a:ext>
            </a:extLst>
          </p:cNvPr>
          <p:cNvSpPr>
            <a:spLocks noGrp="1"/>
          </p:cNvSpPr>
          <p:nvPr>
            <p:ph type="tbl" sz="quarter" idx="27" hasCustomPrompt="1"/>
          </p:nvPr>
        </p:nvSpPr>
        <p:spPr>
          <a:xfrm>
            <a:off x="581709" y="2310237"/>
            <a:ext cx="10889796" cy="431785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US" altLang="zh-CN" dirty="0"/>
              <a:t>Click to edit master text style</a:t>
            </a:r>
            <a:endParaRPr lang="zh-CN" altLang="en-US" dirty="0"/>
          </a:p>
        </p:txBody>
      </p:sp>
      <p:sp>
        <p:nvSpPr>
          <p:cNvPr id="9" name="Freeform: Shape 5">
            <a:extLst>
              <a:ext uri="{FF2B5EF4-FFF2-40B4-BE49-F238E27FC236}">
                <a16:creationId xmlns:a16="http://schemas.microsoft.com/office/drawing/2014/main" id="{3F619E6B-153E-B522-47EB-4104C405736C}"/>
              </a:ext>
            </a:extLst>
          </p:cNvPr>
          <p:cNvSpPr/>
          <p:nvPr userDrawn="1"/>
        </p:nvSpPr>
        <p:spPr>
          <a:xfrm>
            <a:off x="10551278" y="4665388"/>
            <a:ext cx="603952" cy="681742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  <a:gd name="connsiteX0" fmla="*/ 2187388 w 4387647"/>
              <a:gd name="connsiteY0" fmla="*/ 0 h 5032188"/>
              <a:gd name="connsiteX1" fmla="*/ 4386729 w 4387647"/>
              <a:gd name="connsiteY1" fmla="*/ 1261035 h 5032188"/>
              <a:gd name="connsiteX2" fmla="*/ 4384192 w 4387647"/>
              <a:gd name="connsiteY2" fmla="*/ 3783287 h 5032188"/>
              <a:gd name="connsiteX3" fmla="*/ 2193365 w 4387647"/>
              <a:gd name="connsiteY3" fmla="*/ 5032188 h 5032188"/>
              <a:gd name="connsiteX4" fmla="*/ 0 w 4387647"/>
              <a:gd name="connsiteY4" fmla="*/ 3783106 h 5032188"/>
              <a:gd name="connsiteX5" fmla="*/ 0 w 4387647"/>
              <a:gd name="connsiteY5" fmla="*/ 1267012 h 5032188"/>
              <a:gd name="connsiteX6" fmla="*/ 2187388 w 4387647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87647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80208" y="2940604"/>
                  <a:pt x="4384192" y="3783287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687A7B3D-E004-6D6A-5979-8F1BADBC9237}"/>
              </a:ext>
            </a:extLst>
          </p:cNvPr>
          <p:cNvSpPr/>
          <p:nvPr userDrawn="1"/>
        </p:nvSpPr>
        <p:spPr>
          <a:xfrm>
            <a:off x="10524774" y="5146146"/>
            <a:ext cx="1667226" cy="1711855"/>
          </a:xfrm>
          <a:custGeom>
            <a:avLst/>
            <a:gdLst>
              <a:gd name="connsiteX0" fmla="*/ 998834 w 1667226"/>
              <a:gd name="connsiteY0" fmla="*/ 0 h 1711855"/>
              <a:gd name="connsiteX1" fmla="*/ 1667226 w 1667226"/>
              <a:gd name="connsiteY1" fmla="*/ 373790 h 1711855"/>
              <a:gd name="connsiteX2" fmla="*/ 1667226 w 1667226"/>
              <a:gd name="connsiteY2" fmla="*/ 1711855 h 1711855"/>
              <a:gd name="connsiteX3" fmla="*/ 48502 w 1667226"/>
              <a:gd name="connsiteY3" fmla="*/ 1711855 h 1711855"/>
              <a:gd name="connsiteX4" fmla="*/ 0 w 1667226"/>
              <a:gd name="connsiteY4" fmla="*/ 1684915 h 1711855"/>
              <a:gd name="connsiteX5" fmla="*/ 0 w 1667226"/>
              <a:gd name="connsiteY5" fmla="*/ 564300 h 17118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667226" h="1711855">
                <a:moveTo>
                  <a:pt x="998834" y="0"/>
                </a:moveTo>
                <a:lnTo>
                  <a:pt x="1667226" y="373790"/>
                </a:lnTo>
                <a:lnTo>
                  <a:pt x="1667226" y="1711855"/>
                </a:lnTo>
                <a:lnTo>
                  <a:pt x="48502" y="1711855"/>
                </a:lnTo>
                <a:lnTo>
                  <a:pt x="0" y="1684915"/>
                </a:lnTo>
                <a:lnTo>
                  <a:pt x="0" y="564300"/>
                </a:lnTo>
                <a:close/>
              </a:path>
            </a:pathLst>
          </a:cu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13" name="Freeform: Shape 11">
            <a:extLst>
              <a:ext uri="{FF2B5EF4-FFF2-40B4-BE49-F238E27FC236}">
                <a16:creationId xmlns:a16="http://schemas.microsoft.com/office/drawing/2014/main" id="{A4CA3A93-BDBF-112D-54A0-05BF6B06BCC1}"/>
              </a:ext>
            </a:extLst>
          </p:cNvPr>
          <p:cNvSpPr/>
          <p:nvPr userDrawn="1"/>
        </p:nvSpPr>
        <p:spPr>
          <a:xfrm>
            <a:off x="10177285" y="5347130"/>
            <a:ext cx="748554" cy="856361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98682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94698" y="2946400"/>
                  <a:pt x="4398682" y="3789083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solidFill>
            <a:schemeClr val="accent4">
              <a:lumMod val="60000"/>
              <a:lumOff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Posterama Text SemiBold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125630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8BF58E95-E9E1-28E6-FB2F-DE80889223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9078" y="1856195"/>
            <a:ext cx="4669613" cy="1688906"/>
          </a:xfrm>
        </p:spPr>
        <p:txBody>
          <a:bodyPr anchor="b">
            <a:noAutofit/>
          </a:bodyPr>
          <a:lstStyle>
            <a:lvl1pPr>
              <a:defRPr sz="2700">
                <a:latin typeface="+mn-lt"/>
              </a:defRPr>
            </a:lvl1pPr>
          </a:lstStyle>
          <a:p>
            <a:r>
              <a:rPr lang="en-US" dirty="0"/>
              <a:t>Click to edit </a:t>
            </a:r>
            <a:r>
              <a:rPr lang="en-US" altLang="zh-CN" dirty="0"/>
              <a:t>Text</a:t>
            </a:r>
            <a:r>
              <a:rPr lang="zh-CN" altLang="en-US" dirty="0"/>
              <a:t> </a:t>
            </a:r>
            <a:r>
              <a:rPr lang="en-US" dirty="0"/>
              <a:t>style</a:t>
            </a:r>
          </a:p>
        </p:txBody>
      </p:sp>
      <p:sp>
        <p:nvSpPr>
          <p:cNvPr id="4" name="Freeform: Shape 5">
            <a:extLst>
              <a:ext uri="{FF2B5EF4-FFF2-40B4-BE49-F238E27FC236}">
                <a16:creationId xmlns:a16="http://schemas.microsoft.com/office/drawing/2014/main" id="{0CA4AA19-0D07-46AB-AC12-64054BBBB499}"/>
              </a:ext>
            </a:extLst>
          </p:cNvPr>
          <p:cNvSpPr/>
          <p:nvPr userDrawn="1"/>
        </p:nvSpPr>
        <p:spPr>
          <a:xfrm>
            <a:off x="3843559" y="722518"/>
            <a:ext cx="1244907" cy="1405252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  <a:gd name="connsiteX0" fmla="*/ 2187388 w 4387647"/>
              <a:gd name="connsiteY0" fmla="*/ 0 h 5032188"/>
              <a:gd name="connsiteX1" fmla="*/ 4386729 w 4387647"/>
              <a:gd name="connsiteY1" fmla="*/ 1261035 h 5032188"/>
              <a:gd name="connsiteX2" fmla="*/ 4384192 w 4387647"/>
              <a:gd name="connsiteY2" fmla="*/ 3783287 h 5032188"/>
              <a:gd name="connsiteX3" fmla="*/ 2193365 w 4387647"/>
              <a:gd name="connsiteY3" fmla="*/ 5032188 h 5032188"/>
              <a:gd name="connsiteX4" fmla="*/ 0 w 4387647"/>
              <a:gd name="connsiteY4" fmla="*/ 3783106 h 5032188"/>
              <a:gd name="connsiteX5" fmla="*/ 0 w 4387647"/>
              <a:gd name="connsiteY5" fmla="*/ 1267012 h 5032188"/>
              <a:gd name="connsiteX6" fmla="*/ 2187388 w 4387647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87647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80208" y="2940604"/>
                  <a:pt x="4384192" y="3783287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5" name="Freeform: Shape 6">
            <a:extLst>
              <a:ext uri="{FF2B5EF4-FFF2-40B4-BE49-F238E27FC236}">
                <a16:creationId xmlns:a16="http://schemas.microsoft.com/office/drawing/2014/main" id="{DF781D9E-0DF5-4DDA-84E6-35DFB054158C}"/>
              </a:ext>
            </a:extLst>
          </p:cNvPr>
          <p:cNvSpPr/>
          <p:nvPr userDrawn="1"/>
        </p:nvSpPr>
        <p:spPr>
          <a:xfrm>
            <a:off x="1223929" y="1436914"/>
            <a:ext cx="2857005" cy="3269776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  <a:gd name="connsiteX0" fmla="*/ 2187388 w 4387647"/>
              <a:gd name="connsiteY0" fmla="*/ 0 h 5032188"/>
              <a:gd name="connsiteX1" fmla="*/ 4386729 w 4387647"/>
              <a:gd name="connsiteY1" fmla="*/ 1261035 h 5032188"/>
              <a:gd name="connsiteX2" fmla="*/ 4384192 w 4387647"/>
              <a:gd name="connsiteY2" fmla="*/ 3783287 h 5032188"/>
              <a:gd name="connsiteX3" fmla="*/ 2193365 w 4387647"/>
              <a:gd name="connsiteY3" fmla="*/ 5032188 h 5032188"/>
              <a:gd name="connsiteX4" fmla="*/ 0 w 4387647"/>
              <a:gd name="connsiteY4" fmla="*/ 3783106 h 5032188"/>
              <a:gd name="connsiteX5" fmla="*/ 0 w 4387647"/>
              <a:gd name="connsiteY5" fmla="*/ 1267012 h 5032188"/>
              <a:gd name="connsiteX6" fmla="*/ 2187388 w 4387647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87647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80208" y="2940604"/>
                  <a:pt x="4384192" y="3783287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 dirty="0"/>
          </a:p>
        </p:txBody>
      </p:sp>
      <p:sp>
        <p:nvSpPr>
          <p:cNvPr id="6" name="Freeform: Shape 7">
            <a:extLst>
              <a:ext uri="{FF2B5EF4-FFF2-40B4-BE49-F238E27FC236}">
                <a16:creationId xmlns:a16="http://schemas.microsoft.com/office/drawing/2014/main" id="{86BA1075-E23C-4BC9-8F67-B2E408F864D2}"/>
              </a:ext>
            </a:extLst>
          </p:cNvPr>
          <p:cNvSpPr/>
          <p:nvPr userDrawn="1"/>
        </p:nvSpPr>
        <p:spPr>
          <a:xfrm>
            <a:off x="758702" y="3457554"/>
            <a:ext cx="1208037" cy="1381756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  <a:gd name="connsiteX0" fmla="*/ 2187388 w 4387647"/>
              <a:gd name="connsiteY0" fmla="*/ 0 h 5032188"/>
              <a:gd name="connsiteX1" fmla="*/ 4386729 w 4387647"/>
              <a:gd name="connsiteY1" fmla="*/ 1261035 h 5032188"/>
              <a:gd name="connsiteX2" fmla="*/ 4384192 w 4387647"/>
              <a:gd name="connsiteY2" fmla="*/ 3783287 h 5032188"/>
              <a:gd name="connsiteX3" fmla="*/ 2193365 w 4387647"/>
              <a:gd name="connsiteY3" fmla="*/ 5032188 h 5032188"/>
              <a:gd name="connsiteX4" fmla="*/ 0 w 4387647"/>
              <a:gd name="connsiteY4" fmla="*/ 3783106 h 5032188"/>
              <a:gd name="connsiteX5" fmla="*/ 0 w 4387647"/>
              <a:gd name="connsiteY5" fmla="*/ 1267012 h 5032188"/>
              <a:gd name="connsiteX6" fmla="*/ 2187388 w 4387647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87647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80208" y="2940604"/>
                  <a:pt x="4384192" y="3783287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noFill/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8" name="Freeform: Shape 11">
            <a:extLst>
              <a:ext uri="{FF2B5EF4-FFF2-40B4-BE49-F238E27FC236}">
                <a16:creationId xmlns:a16="http://schemas.microsoft.com/office/drawing/2014/main" id="{B2A4CA75-D17E-243B-9C56-A63C75AF6D56}"/>
              </a:ext>
            </a:extLst>
          </p:cNvPr>
          <p:cNvSpPr/>
          <p:nvPr userDrawn="1"/>
        </p:nvSpPr>
        <p:spPr>
          <a:xfrm>
            <a:off x="2917915" y="4662164"/>
            <a:ext cx="663381" cy="758922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98682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94698" y="2946400"/>
                  <a:pt x="4398682" y="3789083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sterama Text SemiBold"/>
              <a:ea typeface="+mn-ea"/>
              <a:cs typeface="+mn-c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0F3565-C67B-9B3D-A0E6-8EFB8E1023E6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096000" y="3770313"/>
            <a:ext cx="4668838" cy="208915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564122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am Me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746267F3-263E-2F49-61C5-CC2BBC1908F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8000"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9029" r="27364"/>
          <a:stretch/>
        </p:blipFill>
        <p:spPr>
          <a:xfrm rot="16200000">
            <a:off x="3910177" y="-2489398"/>
            <a:ext cx="7680961" cy="11272385"/>
          </a:xfrm>
          <a:prstGeom prst="rect">
            <a:avLst/>
          </a:prstGeom>
        </p:spPr>
      </p:pic>
      <p:sp>
        <p:nvSpPr>
          <p:cNvPr id="60" name="Content placeholder 47">
            <a:extLst>
              <a:ext uri="{FF2B5EF4-FFF2-40B4-BE49-F238E27FC236}">
                <a16:creationId xmlns:a16="http://schemas.microsoft.com/office/drawing/2014/main" id="{E2F72F6F-0172-47B0-8D9E-0EED383332E2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1257038" y="2936273"/>
            <a:ext cx="2368061" cy="2102177"/>
          </a:xfrm>
          <a:prstGeom prst="hexagon">
            <a:avLst>
              <a:gd name="adj" fmla="val 28349"/>
              <a:gd name="vf" fmla="val 115470"/>
            </a:avLst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l">
              <a:buFontTx/>
              <a:buNone/>
              <a:defRPr sz="1050">
                <a:solidFill>
                  <a:schemeClr val="accent6"/>
                </a:solidFill>
              </a:defRPr>
            </a:lvl1pPr>
          </a:lstStyle>
          <a:p>
            <a:r>
              <a:rPr lang="en-GB" altLang="zh-CN"/>
              <a:t>Click icon to add picture</a:t>
            </a:r>
            <a:endParaRPr lang="en-US" altLang="zh-CN" dirty="0"/>
          </a:p>
        </p:txBody>
      </p:sp>
      <p:sp>
        <p:nvSpPr>
          <p:cNvPr id="52" name="Content placeholder 47" descr="Click icon to add picture">
            <a:extLst>
              <a:ext uri="{FF2B5EF4-FFF2-40B4-BE49-F238E27FC236}">
                <a16:creationId xmlns:a16="http://schemas.microsoft.com/office/drawing/2014/main" id="{2369DDD8-CFC2-4980-A0DB-411AA173B47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356243" y="5151784"/>
            <a:ext cx="2098039" cy="506399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ctr">
              <a:lnSpc>
                <a:spcPct val="100000"/>
              </a:lnSpc>
              <a:buNone/>
              <a:defRPr sz="1800" b="1" i="0">
                <a:solidFill>
                  <a:schemeClr val="accent6"/>
                </a:solidFill>
                <a:latin typeface="+mn-lt"/>
                <a:ea typeface="+mj-ea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 Master title style </a:t>
            </a:r>
          </a:p>
        </p:txBody>
      </p:sp>
      <p:sp>
        <p:nvSpPr>
          <p:cNvPr id="53" name="Content placeholder 47">
            <a:extLst>
              <a:ext uri="{FF2B5EF4-FFF2-40B4-BE49-F238E27FC236}">
                <a16:creationId xmlns:a16="http://schemas.microsoft.com/office/drawing/2014/main" id="{B66AC261-5929-40D2-A646-8F16675DE38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356243" y="5682675"/>
            <a:ext cx="2098038" cy="506399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0">
                <a:solidFill>
                  <a:schemeClr val="accent6"/>
                </a:solidFill>
                <a:latin typeface="+mn-lt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 Master text styles </a:t>
            </a:r>
          </a:p>
        </p:txBody>
      </p:sp>
      <p:sp>
        <p:nvSpPr>
          <p:cNvPr id="61" name="Content placeholder 47">
            <a:extLst>
              <a:ext uri="{FF2B5EF4-FFF2-40B4-BE49-F238E27FC236}">
                <a16:creationId xmlns:a16="http://schemas.microsoft.com/office/drawing/2014/main" id="{B33A9FB2-1610-4389-B352-D99255F77BEC}"/>
              </a:ext>
            </a:extLst>
          </p:cNvPr>
          <p:cNvSpPr>
            <a:spLocks noGrp="1"/>
          </p:cNvSpPr>
          <p:nvPr>
            <p:ph type="pic" sz="quarter" idx="49"/>
          </p:nvPr>
        </p:nvSpPr>
        <p:spPr>
          <a:xfrm>
            <a:off x="3765776" y="2216650"/>
            <a:ext cx="2368061" cy="2102177"/>
          </a:xfrm>
          <a:prstGeom prst="hexagon">
            <a:avLst>
              <a:gd name="adj" fmla="val 28349"/>
              <a:gd name="vf" fmla="val 115470"/>
            </a:avLst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l">
              <a:buFontTx/>
              <a:buNone/>
              <a:defRPr sz="1050">
                <a:solidFill>
                  <a:schemeClr val="accent6"/>
                </a:solidFill>
              </a:defRPr>
            </a:lvl1pPr>
          </a:lstStyle>
          <a:p>
            <a:r>
              <a:rPr lang="en-GB" altLang="zh-CN"/>
              <a:t>Click icon to add picture</a:t>
            </a:r>
            <a:endParaRPr lang="en-US" altLang="zh-CN" dirty="0"/>
          </a:p>
        </p:txBody>
      </p:sp>
      <p:sp>
        <p:nvSpPr>
          <p:cNvPr id="21" name="Content placeholder 47" descr="Click icon to add picture">
            <a:extLst>
              <a:ext uri="{FF2B5EF4-FFF2-40B4-BE49-F238E27FC236}">
                <a16:creationId xmlns:a16="http://schemas.microsoft.com/office/drawing/2014/main" id="{DEE851A8-3FB7-B319-A053-BE08A45763C5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3862680" y="4433327"/>
            <a:ext cx="2098039" cy="506399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ctr">
              <a:lnSpc>
                <a:spcPct val="100000"/>
              </a:lnSpc>
              <a:buNone/>
              <a:defRPr sz="1800" b="1" i="0">
                <a:solidFill>
                  <a:schemeClr val="accent6"/>
                </a:solidFill>
                <a:latin typeface="+mn-lt"/>
                <a:ea typeface="+mj-ea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 Master title style </a:t>
            </a:r>
          </a:p>
        </p:txBody>
      </p:sp>
      <p:sp>
        <p:nvSpPr>
          <p:cNvPr id="22" name="Content placeholder 47">
            <a:extLst>
              <a:ext uri="{FF2B5EF4-FFF2-40B4-BE49-F238E27FC236}">
                <a16:creationId xmlns:a16="http://schemas.microsoft.com/office/drawing/2014/main" id="{5743B59B-3EAA-B249-07CE-9C9C5B0B6AB1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3862680" y="4964218"/>
            <a:ext cx="2098038" cy="506399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0">
                <a:solidFill>
                  <a:schemeClr val="accent6"/>
                </a:solidFill>
                <a:latin typeface="+mn-lt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 Master text styles </a:t>
            </a:r>
          </a:p>
        </p:txBody>
      </p:sp>
      <p:sp>
        <p:nvSpPr>
          <p:cNvPr id="62" name="Content placeholder 47">
            <a:extLst>
              <a:ext uri="{FF2B5EF4-FFF2-40B4-BE49-F238E27FC236}">
                <a16:creationId xmlns:a16="http://schemas.microsoft.com/office/drawing/2014/main" id="{0AC60B87-71AC-4AA8-9AE7-B3B427BACB12}"/>
              </a:ext>
            </a:extLst>
          </p:cNvPr>
          <p:cNvSpPr>
            <a:spLocks noGrp="1"/>
          </p:cNvSpPr>
          <p:nvPr>
            <p:ph type="pic" sz="quarter" idx="50"/>
          </p:nvPr>
        </p:nvSpPr>
        <p:spPr>
          <a:xfrm>
            <a:off x="6255641" y="2936273"/>
            <a:ext cx="2368061" cy="2102177"/>
          </a:xfrm>
          <a:prstGeom prst="hexagon">
            <a:avLst>
              <a:gd name="adj" fmla="val 28349"/>
              <a:gd name="vf" fmla="val 115470"/>
            </a:avLst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l">
              <a:buFontTx/>
              <a:buNone/>
              <a:defRPr sz="1050">
                <a:solidFill>
                  <a:schemeClr val="accent6"/>
                </a:solidFill>
              </a:defRPr>
            </a:lvl1pPr>
          </a:lstStyle>
          <a:p>
            <a:r>
              <a:rPr lang="en-GB" altLang="zh-CN"/>
              <a:t>Click icon to add picture</a:t>
            </a:r>
            <a:endParaRPr lang="en-US" altLang="zh-CN" dirty="0"/>
          </a:p>
        </p:txBody>
      </p:sp>
      <p:sp>
        <p:nvSpPr>
          <p:cNvPr id="19" name="Content placeholder 47" descr="Click icon to add picture">
            <a:extLst>
              <a:ext uri="{FF2B5EF4-FFF2-40B4-BE49-F238E27FC236}">
                <a16:creationId xmlns:a16="http://schemas.microsoft.com/office/drawing/2014/main" id="{110FBA5D-2CEB-4D44-16CA-0F24099B1401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360950" y="5151784"/>
            <a:ext cx="2098039" cy="506399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ctr">
              <a:lnSpc>
                <a:spcPct val="100000"/>
              </a:lnSpc>
              <a:buNone/>
              <a:defRPr sz="1800" b="1" i="0">
                <a:solidFill>
                  <a:schemeClr val="accent6"/>
                </a:solidFill>
                <a:latin typeface="+mn-lt"/>
                <a:ea typeface="+mj-ea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 Master title style </a:t>
            </a:r>
          </a:p>
        </p:txBody>
      </p:sp>
      <p:sp>
        <p:nvSpPr>
          <p:cNvPr id="20" name="Content placeholder 47">
            <a:extLst>
              <a:ext uri="{FF2B5EF4-FFF2-40B4-BE49-F238E27FC236}">
                <a16:creationId xmlns:a16="http://schemas.microsoft.com/office/drawing/2014/main" id="{2108E774-D145-FA07-58F1-7DB37A30A596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360950" y="5682675"/>
            <a:ext cx="2098038" cy="506399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0">
                <a:solidFill>
                  <a:schemeClr val="accent6"/>
                </a:solidFill>
                <a:latin typeface="+mn-lt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 Master text styles </a:t>
            </a:r>
          </a:p>
        </p:txBody>
      </p:sp>
      <p:sp>
        <p:nvSpPr>
          <p:cNvPr id="63" name="Content placeholder 47">
            <a:extLst>
              <a:ext uri="{FF2B5EF4-FFF2-40B4-BE49-F238E27FC236}">
                <a16:creationId xmlns:a16="http://schemas.microsoft.com/office/drawing/2014/main" id="{05B25D7D-82BA-4FF5-9C92-4AD181847515}"/>
              </a:ext>
            </a:extLst>
          </p:cNvPr>
          <p:cNvSpPr>
            <a:spLocks noGrp="1"/>
          </p:cNvSpPr>
          <p:nvPr>
            <p:ph type="pic" sz="quarter" idx="51"/>
          </p:nvPr>
        </p:nvSpPr>
        <p:spPr>
          <a:xfrm>
            <a:off x="8642568" y="2212251"/>
            <a:ext cx="2368061" cy="2102177"/>
          </a:xfrm>
          <a:prstGeom prst="hexagon">
            <a:avLst>
              <a:gd name="adj" fmla="val 28349"/>
              <a:gd name="vf" fmla="val 115470"/>
            </a:avLst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l">
              <a:buFontTx/>
              <a:buNone/>
              <a:defRPr sz="1050">
                <a:solidFill>
                  <a:schemeClr val="accent6"/>
                </a:solidFill>
              </a:defRPr>
            </a:lvl1pPr>
          </a:lstStyle>
          <a:p>
            <a:r>
              <a:rPr lang="en-GB" altLang="zh-CN"/>
              <a:t>Click icon to add picture</a:t>
            </a:r>
            <a:endParaRPr lang="en-US" altLang="zh-CN" dirty="0"/>
          </a:p>
        </p:txBody>
      </p:sp>
      <p:sp>
        <p:nvSpPr>
          <p:cNvPr id="25" name="Content placeholder 47" descr="Click icon to add picture">
            <a:extLst>
              <a:ext uri="{FF2B5EF4-FFF2-40B4-BE49-F238E27FC236}">
                <a16:creationId xmlns:a16="http://schemas.microsoft.com/office/drawing/2014/main" id="{A9C2624B-E6E6-C673-E8FF-F4BF909C3AC2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8777580" y="4433327"/>
            <a:ext cx="2098039" cy="506399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ctr">
              <a:lnSpc>
                <a:spcPct val="100000"/>
              </a:lnSpc>
              <a:buNone/>
              <a:defRPr sz="1800" b="1" i="0">
                <a:solidFill>
                  <a:schemeClr val="accent6"/>
                </a:solidFill>
                <a:latin typeface="+mn-lt"/>
                <a:ea typeface="+mj-ea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 Master title style </a:t>
            </a:r>
          </a:p>
        </p:txBody>
      </p:sp>
      <p:sp>
        <p:nvSpPr>
          <p:cNvPr id="26" name="Content placeholder 47">
            <a:extLst>
              <a:ext uri="{FF2B5EF4-FFF2-40B4-BE49-F238E27FC236}">
                <a16:creationId xmlns:a16="http://schemas.microsoft.com/office/drawing/2014/main" id="{A003837A-CCD7-3699-D86F-CB884CA4C675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8777580" y="4964218"/>
            <a:ext cx="2098038" cy="506399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0">
                <a:solidFill>
                  <a:schemeClr val="accent6"/>
                </a:solidFill>
                <a:latin typeface="+mn-lt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 Master text styles </a:t>
            </a:r>
          </a:p>
        </p:txBody>
      </p:sp>
      <p:sp>
        <p:nvSpPr>
          <p:cNvPr id="16" name="Title Placeholder 4">
            <a:extLst>
              <a:ext uri="{FF2B5EF4-FFF2-40B4-BE49-F238E27FC236}">
                <a16:creationId xmlns:a16="http://schemas.microsoft.com/office/drawing/2014/main" id="{DCA6F28B-ACF1-D3CB-8968-4F64BEA02E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832513"/>
            <a:ext cx="10515600" cy="858175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algn="ctr">
              <a:defRPr>
                <a:solidFill>
                  <a:schemeClr val="accent6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3683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Team Me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B92FA2A-46BA-2A19-C3CE-EC6985867B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9574" y="2367293"/>
            <a:ext cx="3909993" cy="3629708"/>
          </a:xfrm>
        </p:spPr>
        <p:txBody>
          <a:bodyPr anchor="t">
            <a:noAutofit/>
          </a:bodyPr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8" name="Content placeholder 47">
            <a:extLst>
              <a:ext uri="{FF2B5EF4-FFF2-40B4-BE49-F238E27FC236}">
                <a16:creationId xmlns:a16="http://schemas.microsoft.com/office/drawing/2014/main" id="{BF9EDF7D-3BB1-43C0-92BB-091CCC520477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4655876" y="436455"/>
            <a:ext cx="1173264" cy="1357920"/>
          </a:xfrm>
          <a:custGeom>
            <a:avLst/>
            <a:gdLst>
              <a:gd name="connsiteX0" fmla="*/ 0 w 4816475"/>
              <a:gd name="connsiteY0" fmla="*/ 2407444 h 4814888"/>
              <a:gd name="connsiteX1" fmla="*/ 1203722 w 4816475"/>
              <a:gd name="connsiteY1" fmla="*/ 1 h 4814888"/>
              <a:gd name="connsiteX2" fmla="*/ 3612753 w 4816475"/>
              <a:gd name="connsiteY2" fmla="*/ 1 h 4814888"/>
              <a:gd name="connsiteX3" fmla="*/ 4816475 w 4816475"/>
              <a:gd name="connsiteY3" fmla="*/ 2407444 h 4814888"/>
              <a:gd name="connsiteX4" fmla="*/ 3612753 w 4816475"/>
              <a:gd name="connsiteY4" fmla="*/ 4814887 h 4814888"/>
              <a:gd name="connsiteX5" fmla="*/ 1203722 w 4816475"/>
              <a:gd name="connsiteY5" fmla="*/ 4814887 h 4814888"/>
              <a:gd name="connsiteX6" fmla="*/ 0 w 4816475"/>
              <a:gd name="connsiteY6" fmla="*/ 2407444 h 4814888"/>
              <a:gd name="connsiteX0" fmla="*/ 0 w 4816475"/>
              <a:gd name="connsiteY0" fmla="*/ 2407443 h 4814886"/>
              <a:gd name="connsiteX1" fmla="*/ 2199402 w 4816475"/>
              <a:gd name="connsiteY1" fmla="*/ 243840 h 4814886"/>
              <a:gd name="connsiteX2" fmla="*/ 3612753 w 4816475"/>
              <a:gd name="connsiteY2" fmla="*/ 0 h 4814886"/>
              <a:gd name="connsiteX3" fmla="*/ 4816475 w 4816475"/>
              <a:gd name="connsiteY3" fmla="*/ 2407443 h 4814886"/>
              <a:gd name="connsiteX4" fmla="*/ 3612753 w 4816475"/>
              <a:gd name="connsiteY4" fmla="*/ 4814886 h 4814886"/>
              <a:gd name="connsiteX5" fmla="*/ 1203722 w 4816475"/>
              <a:gd name="connsiteY5" fmla="*/ 4814886 h 4814886"/>
              <a:gd name="connsiteX6" fmla="*/ 0 w 4816475"/>
              <a:gd name="connsiteY6" fmla="*/ 2407443 h 4814886"/>
              <a:gd name="connsiteX0" fmla="*/ 0 w 4816475"/>
              <a:gd name="connsiteY0" fmla="*/ 2163603 h 4571046"/>
              <a:gd name="connsiteX1" fmla="*/ 2199402 w 4816475"/>
              <a:gd name="connsiteY1" fmla="*/ 0 h 4571046"/>
              <a:gd name="connsiteX2" fmla="*/ 4608433 w 4816475"/>
              <a:gd name="connsiteY2" fmla="*/ 721360 h 4571046"/>
              <a:gd name="connsiteX3" fmla="*/ 4816475 w 4816475"/>
              <a:gd name="connsiteY3" fmla="*/ 2163603 h 4571046"/>
              <a:gd name="connsiteX4" fmla="*/ 3612753 w 4816475"/>
              <a:gd name="connsiteY4" fmla="*/ 4571046 h 4571046"/>
              <a:gd name="connsiteX5" fmla="*/ 1203722 w 4816475"/>
              <a:gd name="connsiteY5" fmla="*/ 4571046 h 4571046"/>
              <a:gd name="connsiteX6" fmla="*/ 0 w 4816475"/>
              <a:gd name="connsiteY6" fmla="*/ 2163603 h 4571046"/>
              <a:gd name="connsiteX0" fmla="*/ 0 w 4958715"/>
              <a:gd name="connsiteY0" fmla="*/ 2163603 h 4571046"/>
              <a:gd name="connsiteX1" fmla="*/ 2199402 w 4958715"/>
              <a:gd name="connsiteY1" fmla="*/ 0 h 4571046"/>
              <a:gd name="connsiteX2" fmla="*/ 4608433 w 4958715"/>
              <a:gd name="connsiteY2" fmla="*/ 721360 h 4571046"/>
              <a:gd name="connsiteX3" fmla="*/ 4958715 w 4958715"/>
              <a:gd name="connsiteY3" fmla="*/ 2803683 h 4571046"/>
              <a:gd name="connsiteX4" fmla="*/ 3612753 w 4958715"/>
              <a:gd name="connsiteY4" fmla="*/ 4571046 h 4571046"/>
              <a:gd name="connsiteX5" fmla="*/ 1203722 w 4958715"/>
              <a:gd name="connsiteY5" fmla="*/ 4571046 h 4571046"/>
              <a:gd name="connsiteX6" fmla="*/ 0 w 4958715"/>
              <a:gd name="connsiteY6" fmla="*/ 2163603 h 4571046"/>
              <a:gd name="connsiteX0" fmla="*/ 0 w 4916043"/>
              <a:gd name="connsiteY0" fmla="*/ 1273587 h 4571046"/>
              <a:gd name="connsiteX1" fmla="*/ 2156730 w 4916043"/>
              <a:gd name="connsiteY1" fmla="*/ 0 h 4571046"/>
              <a:gd name="connsiteX2" fmla="*/ 4565761 w 4916043"/>
              <a:gd name="connsiteY2" fmla="*/ 721360 h 4571046"/>
              <a:gd name="connsiteX3" fmla="*/ 4916043 w 4916043"/>
              <a:gd name="connsiteY3" fmla="*/ 2803683 h 4571046"/>
              <a:gd name="connsiteX4" fmla="*/ 3570081 w 4916043"/>
              <a:gd name="connsiteY4" fmla="*/ 4571046 h 4571046"/>
              <a:gd name="connsiteX5" fmla="*/ 1161050 w 4916043"/>
              <a:gd name="connsiteY5" fmla="*/ 4571046 h 4571046"/>
              <a:gd name="connsiteX6" fmla="*/ 0 w 4916043"/>
              <a:gd name="connsiteY6" fmla="*/ 1273587 h 4571046"/>
              <a:gd name="connsiteX0" fmla="*/ 0 w 4916043"/>
              <a:gd name="connsiteY0" fmla="*/ 1273587 h 4571046"/>
              <a:gd name="connsiteX1" fmla="*/ 2156730 w 4916043"/>
              <a:gd name="connsiteY1" fmla="*/ 0 h 4571046"/>
              <a:gd name="connsiteX2" fmla="*/ 4565761 w 4916043"/>
              <a:gd name="connsiteY2" fmla="*/ 721360 h 4571046"/>
              <a:gd name="connsiteX3" fmla="*/ 4916043 w 4916043"/>
              <a:gd name="connsiteY3" fmla="*/ 2803683 h 4571046"/>
              <a:gd name="connsiteX4" fmla="*/ 3570081 w 4916043"/>
              <a:gd name="connsiteY4" fmla="*/ 4571046 h 4571046"/>
              <a:gd name="connsiteX5" fmla="*/ 21098 w 4916043"/>
              <a:gd name="connsiteY5" fmla="*/ 3815142 h 4571046"/>
              <a:gd name="connsiteX6" fmla="*/ 0 w 4916043"/>
              <a:gd name="connsiteY6" fmla="*/ 1273587 h 4571046"/>
              <a:gd name="connsiteX0" fmla="*/ 0 w 4916043"/>
              <a:gd name="connsiteY0" fmla="*/ 1273587 h 5066346"/>
              <a:gd name="connsiteX1" fmla="*/ 2156730 w 4916043"/>
              <a:gd name="connsiteY1" fmla="*/ 0 h 5066346"/>
              <a:gd name="connsiteX2" fmla="*/ 4565761 w 4916043"/>
              <a:gd name="connsiteY2" fmla="*/ 721360 h 5066346"/>
              <a:gd name="connsiteX3" fmla="*/ 4916043 w 4916043"/>
              <a:gd name="connsiteY3" fmla="*/ 2803683 h 5066346"/>
              <a:gd name="connsiteX4" fmla="*/ 2236581 w 4916043"/>
              <a:gd name="connsiteY4" fmla="*/ 5066346 h 5066346"/>
              <a:gd name="connsiteX5" fmla="*/ 21098 w 4916043"/>
              <a:gd name="connsiteY5" fmla="*/ 3815142 h 5066346"/>
              <a:gd name="connsiteX6" fmla="*/ 0 w 4916043"/>
              <a:gd name="connsiteY6" fmla="*/ 1273587 h 5066346"/>
              <a:gd name="connsiteX0" fmla="*/ 0 w 4565761"/>
              <a:gd name="connsiteY0" fmla="*/ 1273587 h 5066346"/>
              <a:gd name="connsiteX1" fmla="*/ 2156730 w 4565761"/>
              <a:gd name="connsiteY1" fmla="*/ 0 h 5066346"/>
              <a:gd name="connsiteX2" fmla="*/ 4565761 w 4565761"/>
              <a:gd name="connsiteY2" fmla="*/ 721360 h 5066346"/>
              <a:gd name="connsiteX3" fmla="*/ 4405503 w 4565761"/>
              <a:gd name="connsiteY3" fmla="*/ 3801903 h 5066346"/>
              <a:gd name="connsiteX4" fmla="*/ 2236581 w 4565761"/>
              <a:gd name="connsiteY4" fmla="*/ 5066346 h 5066346"/>
              <a:gd name="connsiteX5" fmla="*/ 21098 w 4565761"/>
              <a:gd name="connsiteY5" fmla="*/ 3815142 h 5066346"/>
              <a:gd name="connsiteX6" fmla="*/ 0 w 4565761"/>
              <a:gd name="connsiteY6" fmla="*/ 1273587 h 5066346"/>
              <a:gd name="connsiteX0" fmla="*/ 0 w 4405503"/>
              <a:gd name="connsiteY0" fmla="*/ 1273587 h 5066346"/>
              <a:gd name="connsiteX1" fmla="*/ 2156730 w 4405503"/>
              <a:gd name="connsiteY1" fmla="*/ 0 h 5066346"/>
              <a:gd name="connsiteX2" fmla="*/ 4398121 w 4405503"/>
              <a:gd name="connsiteY2" fmla="*/ 1277620 h 5066346"/>
              <a:gd name="connsiteX3" fmla="*/ 4405503 w 4405503"/>
              <a:gd name="connsiteY3" fmla="*/ 3801903 h 5066346"/>
              <a:gd name="connsiteX4" fmla="*/ 2236581 w 4405503"/>
              <a:gd name="connsiteY4" fmla="*/ 5066346 h 5066346"/>
              <a:gd name="connsiteX5" fmla="*/ 21098 w 4405503"/>
              <a:gd name="connsiteY5" fmla="*/ 3815142 h 5066346"/>
              <a:gd name="connsiteX6" fmla="*/ 0 w 4405503"/>
              <a:gd name="connsiteY6" fmla="*/ 1273587 h 5066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405503" h="5066346">
                <a:moveTo>
                  <a:pt x="0" y="1273587"/>
                </a:moveTo>
                <a:lnTo>
                  <a:pt x="2156730" y="0"/>
                </a:lnTo>
                <a:lnTo>
                  <a:pt x="4398121" y="1277620"/>
                </a:lnTo>
                <a:cubicBezTo>
                  <a:pt x="4400582" y="2119048"/>
                  <a:pt x="4403042" y="2960475"/>
                  <a:pt x="4405503" y="3801903"/>
                </a:cubicBezTo>
                <a:lnTo>
                  <a:pt x="2236581" y="5066346"/>
                </a:lnTo>
                <a:lnTo>
                  <a:pt x="21098" y="3815142"/>
                </a:lnTo>
                <a:lnTo>
                  <a:pt x="0" y="1273587"/>
                </a:lnTo>
                <a:close/>
              </a:path>
            </a:pathLst>
          </a:custGeom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6"/>
                </a:solidFill>
              </a:defRPr>
            </a:lvl1pPr>
          </a:lstStyle>
          <a:p>
            <a:r>
              <a:rPr lang="en-GB" altLang="zh-CN"/>
              <a:t>Click icon to add picture</a:t>
            </a:r>
            <a:endParaRPr lang="zh-CN" altLang="en-US"/>
          </a:p>
        </p:txBody>
      </p:sp>
      <p:sp>
        <p:nvSpPr>
          <p:cNvPr id="39" name="文本占位符 47" descr="Click icon to add picture">
            <a:extLst>
              <a:ext uri="{FF2B5EF4-FFF2-40B4-BE49-F238E27FC236}">
                <a16:creationId xmlns:a16="http://schemas.microsoft.com/office/drawing/2014/main" id="{15896C2C-7C25-4BC0-AF9B-DF590A2909A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906290" y="522515"/>
            <a:ext cx="2289842" cy="626551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1" i="0">
                <a:solidFill>
                  <a:schemeClr val="accent6"/>
                </a:solidFill>
                <a:latin typeface="+mn-lt"/>
                <a:ea typeface="+mj-ea"/>
                <a:cs typeface="Posterama" panose="020B0504020200020000" pitchFamily="34" charset="0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 Master title style </a:t>
            </a:r>
          </a:p>
        </p:txBody>
      </p:sp>
      <p:sp>
        <p:nvSpPr>
          <p:cNvPr id="40" name="Content placeholder 47">
            <a:extLst>
              <a:ext uri="{FF2B5EF4-FFF2-40B4-BE49-F238E27FC236}">
                <a16:creationId xmlns:a16="http://schemas.microsoft.com/office/drawing/2014/main" id="{CAC554EF-FF8F-4055-A716-E82F461413B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906291" y="1165881"/>
            <a:ext cx="2289842" cy="506399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400" b="0" i="0">
                <a:solidFill>
                  <a:schemeClr val="accent6"/>
                </a:solidFill>
                <a:latin typeface="+mn-lt"/>
                <a:cs typeface="Posterama" panose="020B0504020200020000" pitchFamily="34" charset="0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 Master text styles </a:t>
            </a:r>
          </a:p>
        </p:txBody>
      </p:sp>
      <p:sp>
        <p:nvSpPr>
          <p:cNvPr id="56" name="Content placeholder 47">
            <a:extLst>
              <a:ext uri="{FF2B5EF4-FFF2-40B4-BE49-F238E27FC236}">
                <a16:creationId xmlns:a16="http://schemas.microsoft.com/office/drawing/2014/main" id="{4F0742C0-A9F2-4886-B17E-6915399483C3}"/>
              </a:ext>
            </a:extLst>
          </p:cNvPr>
          <p:cNvSpPr>
            <a:spLocks noGrp="1"/>
          </p:cNvSpPr>
          <p:nvPr>
            <p:ph type="pic" sz="quarter" idx="72"/>
          </p:nvPr>
        </p:nvSpPr>
        <p:spPr>
          <a:xfrm>
            <a:off x="8445996" y="436455"/>
            <a:ext cx="1173264" cy="1357920"/>
          </a:xfrm>
          <a:custGeom>
            <a:avLst/>
            <a:gdLst>
              <a:gd name="connsiteX0" fmla="*/ 0 w 4816475"/>
              <a:gd name="connsiteY0" fmla="*/ 2407444 h 4814888"/>
              <a:gd name="connsiteX1" fmla="*/ 1203722 w 4816475"/>
              <a:gd name="connsiteY1" fmla="*/ 1 h 4814888"/>
              <a:gd name="connsiteX2" fmla="*/ 3612753 w 4816475"/>
              <a:gd name="connsiteY2" fmla="*/ 1 h 4814888"/>
              <a:gd name="connsiteX3" fmla="*/ 4816475 w 4816475"/>
              <a:gd name="connsiteY3" fmla="*/ 2407444 h 4814888"/>
              <a:gd name="connsiteX4" fmla="*/ 3612753 w 4816475"/>
              <a:gd name="connsiteY4" fmla="*/ 4814887 h 4814888"/>
              <a:gd name="connsiteX5" fmla="*/ 1203722 w 4816475"/>
              <a:gd name="connsiteY5" fmla="*/ 4814887 h 4814888"/>
              <a:gd name="connsiteX6" fmla="*/ 0 w 4816475"/>
              <a:gd name="connsiteY6" fmla="*/ 2407444 h 4814888"/>
              <a:gd name="connsiteX0" fmla="*/ 0 w 4816475"/>
              <a:gd name="connsiteY0" fmla="*/ 2407443 h 4814886"/>
              <a:gd name="connsiteX1" fmla="*/ 2199402 w 4816475"/>
              <a:gd name="connsiteY1" fmla="*/ 243840 h 4814886"/>
              <a:gd name="connsiteX2" fmla="*/ 3612753 w 4816475"/>
              <a:gd name="connsiteY2" fmla="*/ 0 h 4814886"/>
              <a:gd name="connsiteX3" fmla="*/ 4816475 w 4816475"/>
              <a:gd name="connsiteY3" fmla="*/ 2407443 h 4814886"/>
              <a:gd name="connsiteX4" fmla="*/ 3612753 w 4816475"/>
              <a:gd name="connsiteY4" fmla="*/ 4814886 h 4814886"/>
              <a:gd name="connsiteX5" fmla="*/ 1203722 w 4816475"/>
              <a:gd name="connsiteY5" fmla="*/ 4814886 h 4814886"/>
              <a:gd name="connsiteX6" fmla="*/ 0 w 4816475"/>
              <a:gd name="connsiteY6" fmla="*/ 2407443 h 4814886"/>
              <a:gd name="connsiteX0" fmla="*/ 0 w 4816475"/>
              <a:gd name="connsiteY0" fmla="*/ 2163603 h 4571046"/>
              <a:gd name="connsiteX1" fmla="*/ 2199402 w 4816475"/>
              <a:gd name="connsiteY1" fmla="*/ 0 h 4571046"/>
              <a:gd name="connsiteX2" fmla="*/ 4608433 w 4816475"/>
              <a:gd name="connsiteY2" fmla="*/ 721360 h 4571046"/>
              <a:gd name="connsiteX3" fmla="*/ 4816475 w 4816475"/>
              <a:gd name="connsiteY3" fmla="*/ 2163603 h 4571046"/>
              <a:gd name="connsiteX4" fmla="*/ 3612753 w 4816475"/>
              <a:gd name="connsiteY4" fmla="*/ 4571046 h 4571046"/>
              <a:gd name="connsiteX5" fmla="*/ 1203722 w 4816475"/>
              <a:gd name="connsiteY5" fmla="*/ 4571046 h 4571046"/>
              <a:gd name="connsiteX6" fmla="*/ 0 w 4816475"/>
              <a:gd name="connsiteY6" fmla="*/ 2163603 h 4571046"/>
              <a:gd name="connsiteX0" fmla="*/ 0 w 4958715"/>
              <a:gd name="connsiteY0" fmla="*/ 2163603 h 4571046"/>
              <a:gd name="connsiteX1" fmla="*/ 2199402 w 4958715"/>
              <a:gd name="connsiteY1" fmla="*/ 0 h 4571046"/>
              <a:gd name="connsiteX2" fmla="*/ 4608433 w 4958715"/>
              <a:gd name="connsiteY2" fmla="*/ 721360 h 4571046"/>
              <a:gd name="connsiteX3" fmla="*/ 4958715 w 4958715"/>
              <a:gd name="connsiteY3" fmla="*/ 2803683 h 4571046"/>
              <a:gd name="connsiteX4" fmla="*/ 3612753 w 4958715"/>
              <a:gd name="connsiteY4" fmla="*/ 4571046 h 4571046"/>
              <a:gd name="connsiteX5" fmla="*/ 1203722 w 4958715"/>
              <a:gd name="connsiteY5" fmla="*/ 4571046 h 4571046"/>
              <a:gd name="connsiteX6" fmla="*/ 0 w 4958715"/>
              <a:gd name="connsiteY6" fmla="*/ 2163603 h 4571046"/>
              <a:gd name="connsiteX0" fmla="*/ 0 w 4916043"/>
              <a:gd name="connsiteY0" fmla="*/ 1273587 h 4571046"/>
              <a:gd name="connsiteX1" fmla="*/ 2156730 w 4916043"/>
              <a:gd name="connsiteY1" fmla="*/ 0 h 4571046"/>
              <a:gd name="connsiteX2" fmla="*/ 4565761 w 4916043"/>
              <a:gd name="connsiteY2" fmla="*/ 721360 h 4571046"/>
              <a:gd name="connsiteX3" fmla="*/ 4916043 w 4916043"/>
              <a:gd name="connsiteY3" fmla="*/ 2803683 h 4571046"/>
              <a:gd name="connsiteX4" fmla="*/ 3570081 w 4916043"/>
              <a:gd name="connsiteY4" fmla="*/ 4571046 h 4571046"/>
              <a:gd name="connsiteX5" fmla="*/ 1161050 w 4916043"/>
              <a:gd name="connsiteY5" fmla="*/ 4571046 h 4571046"/>
              <a:gd name="connsiteX6" fmla="*/ 0 w 4916043"/>
              <a:gd name="connsiteY6" fmla="*/ 1273587 h 4571046"/>
              <a:gd name="connsiteX0" fmla="*/ 0 w 4916043"/>
              <a:gd name="connsiteY0" fmla="*/ 1273587 h 4571046"/>
              <a:gd name="connsiteX1" fmla="*/ 2156730 w 4916043"/>
              <a:gd name="connsiteY1" fmla="*/ 0 h 4571046"/>
              <a:gd name="connsiteX2" fmla="*/ 4565761 w 4916043"/>
              <a:gd name="connsiteY2" fmla="*/ 721360 h 4571046"/>
              <a:gd name="connsiteX3" fmla="*/ 4916043 w 4916043"/>
              <a:gd name="connsiteY3" fmla="*/ 2803683 h 4571046"/>
              <a:gd name="connsiteX4" fmla="*/ 3570081 w 4916043"/>
              <a:gd name="connsiteY4" fmla="*/ 4571046 h 4571046"/>
              <a:gd name="connsiteX5" fmla="*/ 21098 w 4916043"/>
              <a:gd name="connsiteY5" fmla="*/ 3815142 h 4571046"/>
              <a:gd name="connsiteX6" fmla="*/ 0 w 4916043"/>
              <a:gd name="connsiteY6" fmla="*/ 1273587 h 4571046"/>
              <a:gd name="connsiteX0" fmla="*/ 0 w 4916043"/>
              <a:gd name="connsiteY0" fmla="*/ 1273587 h 5066346"/>
              <a:gd name="connsiteX1" fmla="*/ 2156730 w 4916043"/>
              <a:gd name="connsiteY1" fmla="*/ 0 h 5066346"/>
              <a:gd name="connsiteX2" fmla="*/ 4565761 w 4916043"/>
              <a:gd name="connsiteY2" fmla="*/ 721360 h 5066346"/>
              <a:gd name="connsiteX3" fmla="*/ 4916043 w 4916043"/>
              <a:gd name="connsiteY3" fmla="*/ 2803683 h 5066346"/>
              <a:gd name="connsiteX4" fmla="*/ 2236581 w 4916043"/>
              <a:gd name="connsiteY4" fmla="*/ 5066346 h 5066346"/>
              <a:gd name="connsiteX5" fmla="*/ 21098 w 4916043"/>
              <a:gd name="connsiteY5" fmla="*/ 3815142 h 5066346"/>
              <a:gd name="connsiteX6" fmla="*/ 0 w 4916043"/>
              <a:gd name="connsiteY6" fmla="*/ 1273587 h 5066346"/>
              <a:gd name="connsiteX0" fmla="*/ 0 w 4565761"/>
              <a:gd name="connsiteY0" fmla="*/ 1273587 h 5066346"/>
              <a:gd name="connsiteX1" fmla="*/ 2156730 w 4565761"/>
              <a:gd name="connsiteY1" fmla="*/ 0 h 5066346"/>
              <a:gd name="connsiteX2" fmla="*/ 4565761 w 4565761"/>
              <a:gd name="connsiteY2" fmla="*/ 721360 h 5066346"/>
              <a:gd name="connsiteX3" fmla="*/ 4405503 w 4565761"/>
              <a:gd name="connsiteY3" fmla="*/ 3801903 h 5066346"/>
              <a:gd name="connsiteX4" fmla="*/ 2236581 w 4565761"/>
              <a:gd name="connsiteY4" fmla="*/ 5066346 h 5066346"/>
              <a:gd name="connsiteX5" fmla="*/ 21098 w 4565761"/>
              <a:gd name="connsiteY5" fmla="*/ 3815142 h 5066346"/>
              <a:gd name="connsiteX6" fmla="*/ 0 w 4565761"/>
              <a:gd name="connsiteY6" fmla="*/ 1273587 h 5066346"/>
              <a:gd name="connsiteX0" fmla="*/ 0 w 4405503"/>
              <a:gd name="connsiteY0" fmla="*/ 1273587 h 5066346"/>
              <a:gd name="connsiteX1" fmla="*/ 2156730 w 4405503"/>
              <a:gd name="connsiteY1" fmla="*/ 0 h 5066346"/>
              <a:gd name="connsiteX2" fmla="*/ 4398121 w 4405503"/>
              <a:gd name="connsiteY2" fmla="*/ 1277620 h 5066346"/>
              <a:gd name="connsiteX3" fmla="*/ 4405503 w 4405503"/>
              <a:gd name="connsiteY3" fmla="*/ 3801903 h 5066346"/>
              <a:gd name="connsiteX4" fmla="*/ 2236581 w 4405503"/>
              <a:gd name="connsiteY4" fmla="*/ 5066346 h 5066346"/>
              <a:gd name="connsiteX5" fmla="*/ 21098 w 4405503"/>
              <a:gd name="connsiteY5" fmla="*/ 3815142 h 5066346"/>
              <a:gd name="connsiteX6" fmla="*/ 0 w 4405503"/>
              <a:gd name="connsiteY6" fmla="*/ 1273587 h 5066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405503" h="5066346">
                <a:moveTo>
                  <a:pt x="0" y="1273587"/>
                </a:moveTo>
                <a:lnTo>
                  <a:pt x="2156730" y="0"/>
                </a:lnTo>
                <a:lnTo>
                  <a:pt x="4398121" y="1277620"/>
                </a:lnTo>
                <a:cubicBezTo>
                  <a:pt x="4400582" y="2119048"/>
                  <a:pt x="4403042" y="2960475"/>
                  <a:pt x="4405503" y="3801903"/>
                </a:cubicBezTo>
                <a:lnTo>
                  <a:pt x="2236581" y="5066346"/>
                </a:lnTo>
                <a:lnTo>
                  <a:pt x="21098" y="3815142"/>
                </a:lnTo>
                <a:lnTo>
                  <a:pt x="0" y="1273587"/>
                </a:lnTo>
                <a:close/>
              </a:path>
            </a:pathLst>
          </a:custGeom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6"/>
                </a:solidFill>
              </a:defRPr>
            </a:lvl1pPr>
          </a:lstStyle>
          <a:p>
            <a:r>
              <a:rPr lang="en-GB" altLang="zh-CN"/>
              <a:t>Click icon to add picture</a:t>
            </a:r>
            <a:endParaRPr lang="zh-CN" altLang="en-US"/>
          </a:p>
        </p:txBody>
      </p:sp>
      <p:sp>
        <p:nvSpPr>
          <p:cNvPr id="41" name="Content placeholder 47" descr="Click icon to add picture">
            <a:extLst>
              <a:ext uri="{FF2B5EF4-FFF2-40B4-BE49-F238E27FC236}">
                <a16:creationId xmlns:a16="http://schemas.microsoft.com/office/drawing/2014/main" id="{CE3DC674-39AB-43B9-AC30-97A68D221596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9695969" y="642667"/>
            <a:ext cx="2098039" cy="506399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1" i="0">
                <a:solidFill>
                  <a:schemeClr val="accent6"/>
                </a:solidFill>
                <a:latin typeface="+mn-lt"/>
                <a:ea typeface="+mj-ea"/>
                <a:cs typeface="Posterama" panose="020B0504020200020000" pitchFamily="34" charset="0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 Master title style </a:t>
            </a:r>
          </a:p>
        </p:txBody>
      </p:sp>
      <p:sp>
        <p:nvSpPr>
          <p:cNvPr id="42" name="Content placeholder 47">
            <a:extLst>
              <a:ext uri="{FF2B5EF4-FFF2-40B4-BE49-F238E27FC236}">
                <a16:creationId xmlns:a16="http://schemas.microsoft.com/office/drawing/2014/main" id="{F12189CA-0E22-41A5-91FD-03761860993D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9695971" y="1165881"/>
            <a:ext cx="2098038" cy="506399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None/>
              <a:defRPr lang="en-US" altLang="zh-CN" sz="1400" b="0" i="0" kern="1200" dirty="0">
                <a:solidFill>
                  <a:schemeClr val="accent6"/>
                </a:solidFill>
                <a:latin typeface="+mn-lt"/>
                <a:ea typeface="+mn-ea"/>
                <a:cs typeface="Posterama" panose="020B0504020200020000" pitchFamily="34" charset="0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altLang="zh-CN" dirty="0"/>
              <a:t>Click to edit Master text styles </a:t>
            </a:r>
          </a:p>
        </p:txBody>
      </p:sp>
      <p:sp>
        <p:nvSpPr>
          <p:cNvPr id="48" name="Content placeholder 47">
            <a:extLst>
              <a:ext uri="{FF2B5EF4-FFF2-40B4-BE49-F238E27FC236}">
                <a16:creationId xmlns:a16="http://schemas.microsoft.com/office/drawing/2014/main" id="{A962C62E-F92F-445A-9243-8B433747A548}"/>
              </a:ext>
            </a:extLst>
          </p:cNvPr>
          <p:cNvSpPr>
            <a:spLocks noGrp="1"/>
          </p:cNvSpPr>
          <p:nvPr>
            <p:ph type="pic" sz="quarter" idx="69"/>
          </p:nvPr>
        </p:nvSpPr>
        <p:spPr>
          <a:xfrm>
            <a:off x="4655876" y="2004222"/>
            <a:ext cx="1173264" cy="1357920"/>
          </a:xfrm>
          <a:custGeom>
            <a:avLst/>
            <a:gdLst>
              <a:gd name="connsiteX0" fmla="*/ 0 w 4816475"/>
              <a:gd name="connsiteY0" fmla="*/ 2407444 h 4814888"/>
              <a:gd name="connsiteX1" fmla="*/ 1203722 w 4816475"/>
              <a:gd name="connsiteY1" fmla="*/ 1 h 4814888"/>
              <a:gd name="connsiteX2" fmla="*/ 3612753 w 4816475"/>
              <a:gd name="connsiteY2" fmla="*/ 1 h 4814888"/>
              <a:gd name="connsiteX3" fmla="*/ 4816475 w 4816475"/>
              <a:gd name="connsiteY3" fmla="*/ 2407444 h 4814888"/>
              <a:gd name="connsiteX4" fmla="*/ 3612753 w 4816475"/>
              <a:gd name="connsiteY4" fmla="*/ 4814887 h 4814888"/>
              <a:gd name="connsiteX5" fmla="*/ 1203722 w 4816475"/>
              <a:gd name="connsiteY5" fmla="*/ 4814887 h 4814888"/>
              <a:gd name="connsiteX6" fmla="*/ 0 w 4816475"/>
              <a:gd name="connsiteY6" fmla="*/ 2407444 h 4814888"/>
              <a:gd name="connsiteX0" fmla="*/ 0 w 4816475"/>
              <a:gd name="connsiteY0" fmla="*/ 2407443 h 4814886"/>
              <a:gd name="connsiteX1" fmla="*/ 2199402 w 4816475"/>
              <a:gd name="connsiteY1" fmla="*/ 243840 h 4814886"/>
              <a:gd name="connsiteX2" fmla="*/ 3612753 w 4816475"/>
              <a:gd name="connsiteY2" fmla="*/ 0 h 4814886"/>
              <a:gd name="connsiteX3" fmla="*/ 4816475 w 4816475"/>
              <a:gd name="connsiteY3" fmla="*/ 2407443 h 4814886"/>
              <a:gd name="connsiteX4" fmla="*/ 3612753 w 4816475"/>
              <a:gd name="connsiteY4" fmla="*/ 4814886 h 4814886"/>
              <a:gd name="connsiteX5" fmla="*/ 1203722 w 4816475"/>
              <a:gd name="connsiteY5" fmla="*/ 4814886 h 4814886"/>
              <a:gd name="connsiteX6" fmla="*/ 0 w 4816475"/>
              <a:gd name="connsiteY6" fmla="*/ 2407443 h 4814886"/>
              <a:gd name="connsiteX0" fmla="*/ 0 w 4816475"/>
              <a:gd name="connsiteY0" fmla="*/ 2163603 h 4571046"/>
              <a:gd name="connsiteX1" fmla="*/ 2199402 w 4816475"/>
              <a:gd name="connsiteY1" fmla="*/ 0 h 4571046"/>
              <a:gd name="connsiteX2" fmla="*/ 4608433 w 4816475"/>
              <a:gd name="connsiteY2" fmla="*/ 721360 h 4571046"/>
              <a:gd name="connsiteX3" fmla="*/ 4816475 w 4816475"/>
              <a:gd name="connsiteY3" fmla="*/ 2163603 h 4571046"/>
              <a:gd name="connsiteX4" fmla="*/ 3612753 w 4816475"/>
              <a:gd name="connsiteY4" fmla="*/ 4571046 h 4571046"/>
              <a:gd name="connsiteX5" fmla="*/ 1203722 w 4816475"/>
              <a:gd name="connsiteY5" fmla="*/ 4571046 h 4571046"/>
              <a:gd name="connsiteX6" fmla="*/ 0 w 4816475"/>
              <a:gd name="connsiteY6" fmla="*/ 2163603 h 4571046"/>
              <a:gd name="connsiteX0" fmla="*/ 0 w 4958715"/>
              <a:gd name="connsiteY0" fmla="*/ 2163603 h 4571046"/>
              <a:gd name="connsiteX1" fmla="*/ 2199402 w 4958715"/>
              <a:gd name="connsiteY1" fmla="*/ 0 h 4571046"/>
              <a:gd name="connsiteX2" fmla="*/ 4608433 w 4958715"/>
              <a:gd name="connsiteY2" fmla="*/ 721360 h 4571046"/>
              <a:gd name="connsiteX3" fmla="*/ 4958715 w 4958715"/>
              <a:gd name="connsiteY3" fmla="*/ 2803683 h 4571046"/>
              <a:gd name="connsiteX4" fmla="*/ 3612753 w 4958715"/>
              <a:gd name="connsiteY4" fmla="*/ 4571046 h 4571046"/>
              <a:gd name="connsiteX5" fmla="*/ 1203722 w 4958715"/>
              <a:gd name="connsiteY5" fmla="*/ 4571046 h 4571046"/>
              <a:gd name="connsiteX6" fmla="*/ 0 w 4958715"/>
              <a:gd name="connsiteY6" fmla="*/ 2163603 h 4571046"/>
              <a:gd name="connsiteX0" fmla="*/ 0 w 4916043"/>
              <a:gd name="connsiteY0" fmla="*/ 1273587 h 4571046"/>
              <a:gd name="connsiteX1" fmla="*/ 2156730 w 4916043"/>
              <a:gd name="connsiteY1" fmla="*/ 0 h 4571046"/>
              <a:gd name="connsiteX2" fmla="*/ 4565761 w 4916043"/>
              <a:gd name="connsiteY2" fmla="*/ 721360 h 4571046"/>
              <a:gd name="connsiteX3" fmla="*/ 4916043 w 4916043"/>
              <a:gd name="connsiteY3" fmla="*/ 2803683 h 4571046"/>
              <a:gd name="connsiteX4" fmla="*/ 3570081 w 4916043"/>
              <a:gd name="connsiteY4" fmla="*/ 4571046 h 4571046"/>
              <a:gd name="connsiteX5" fmla="*/ 1161050 w 4916043"/>
              <a:gd name="connsiteY5" fmla="*/ 4571046 h 4571046"/>
              <a:gd name="connsiteX6" fmla="*/ 0 w 4916043"/>
              <a:gd name="connsiteY6" fmla="*/ 1273587 h 4571046"/>
              <a:gd name="connsiteX0" fmla="*/ 0 w 4916043"/>
              <a:gd name="connsiteY0" fmla="*/ 1273587 h 4571046"/>
              <a:gd name="connsiteX1" fmla="*/ 2156730 w 4916043"/>
              <a:gd name="connsiteY1" fmla="*/ 0 h 4571046"/>
              <a:gd name="connsiteX2" fmla="*/ 4565761 w 4916043"/>
              <a:gd name="connsiteY2" fmla="*/ 721360 h 4571046"/>
              <a:gd name="connsiteX3" fmla="*/ 4916043 w 4916043"/>
              <a:gd name="connsiteY3" fmla="*/ 2803683 h 4571046"/>
              <a:gd name="connsiteX4" fmla="*/ 3570081 w 4916043"/>
              <a:gd name="connsiteY4" fmla="*/ 4571046 h 4571046"/>
              <a:gd name="connsiteX5" fmla="*/ 21098 w 4916043"/>
              <a:gd name="connsiteY5" fmla="*/ 3815142 h 4571046"/>
              <a:gd name="connsiteX6" fmla="*/ 0 w 4916043"/>
              <a:gd name="connsiteY6" fmla="*/ 1273587 h 4571046"/>
              <a:gd name="connsiteX0" fmla="*/ 0 w 4916043"/>
              <a:gd name="connsiteY0" fmla="*/ 1273587 h 5066346"/>
              <a:gd name="connsiteX1" fmla="*/ 2156730 w 4916043"/>
              <a:gd name="connsiteY1" fmla="*/ 0 h 5066346"/>
              <a:gd name="connsiteX2" fmla="*/ 4565761 w 4916043"/>
              <a:gd name="connsiteY2" fmla="*/ 721360 h 5066346"/>
              <a:gd name="connsiteX3" fmla="*/ 4916043 w 4916043"/>
              <a:gd name="connsiteY3" fmla="*/ 2803683 h 5066346"/>
              <a:gd name="connsiteX4" fmla="*/ 2236581 w 4916043"/>
              <a:gd name="connsiteY4" fmla="*/ 5066346 h 5066346"/>
              <a:gd name="connsiteX5" fmla="*/ 21098 w 4916043"/>
              <a:gd name="connsiteY5" fmla="*/ 3815142 h 5066346"/>
              <a:gd name="connsiteX6" fmla="*/ 0 w 4916043"/>
              <a:gd name="connsiteY6" fmla="*/ 1273587 h 5066346"/>
              <a:gd name="connsiteX0" fmla="*/ 0 w 4565761"/>
              <a:gd name="connsiteY0" fmla="*/ 1273587 h 5066346"/>
              <a:gd name="connsiteX1" fmla="*/ 2156730 w 4565761"/>
              <a:gd name="connsiteY1" fmla="*/ 0 h 5066346"/>
              <a:gd name="connsiteX2" fmla="*/ 4565761 w 4565761"/>
              <a:gd name="connsiteY2" fmla="*/ 721360 h 5066346"/>
              <a:gd name="connsiteX3" fmla="*/ 4405503 w 4565761"/>
              <a:gd name="connsiteY3" fmla="*/ 3801903 h 5066346"/>
              <a:gd name="connsiteX4" fmla="*/ 2236581 w 4565761"/>
              <a:gd name="connsiteY4" fmla="*/ 5066346 h 5066346"/>
              <a:gd name="connsiteX5" fmla="*/ 21098 w 4565761"/>
              <a:gd name="connsiteY5" fmla="*/ 3815142 h 5066346"/>
              <a:gd name="connsiteX6" fmla="*/ 0 w 4565761"/>
              <a:gd name="connsiteY6" fmla="*/ 1273587 h 5066346"/>
              <a:gd name="connsiteX0" fmla="*/ 0 w 4405503"/>
              <a:gd name="connsiteY0" fmla="*/ 1273587 h 5066346"/>
              <a:gd name="connsiteX1" fmla="*/ 2156730 w 4405503"/>
              <a:gd name="connsiteY1" fmla="*/ 0 h 5066346"/>
              <a:gd name="connsiteX2" fmla="*/ 4398121 w 4405503"/>
              <a:gd name="connsiteY2" fmla="*/ 1277620 h 5066346"/>
              <a:gd name="connsiteX3" fmla="*/ 4405503 w 4405503"/>
              <a:gd name="connsiteY3" fmla="*/ 3801903 h 5066346"/>
              <a:gd name="connsiteX4" fmla="*/ 2236581 w 4405503"/>
              <a:gd name="connsiteY4" fmla="*/ 5066346 h 5066346"/>
              <a:gd name="connsiteX5" fmla="*/ 21098 w 4405503"/>
              <a:gd name="connsiteY5" fmla="*/ 3815142 h 5066346"/>
              <a:gd name="connsiteX6" fmla="*/ 0 w 4405503"/>
              <a:gd name="connsiteY6" fmla="*/ 1273587 h 5066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405503" h="5066346">
                <a:moveTo>
                  <a:pt x="0" y="1273587"/>
                </a:moveTo>
                <a:lnTo>
                  <a:pt x="2156730" y="0"/>
                </a:lnTo>
                <a:lnTo>
                  <a:pt x="4398121" y="1277620"/>
                </a:lnTo>
                <a:cubicBezTo>
                  <a:pt x="4400582" y="2119048"/>
                  <a:pt x="4403042" y="2960475"/>
                  <a:pt x="4405503" y="3801903"/>
                </a:cubicBezTo>
                <a:lnTo>
                  <a:pt x="2236581" y="5066346"/>
                </a:lnTo>
                <a:lnTo>
                  <a:pt x="21098" y="3815142"/>
                </a:lnTo>
                <a:lnTo>
                  <a:pt x="0" y="1273587"/>
                </a:lnTo>
                <a:close/>
              </a:path>
            </a:pathLst>
          </a:custGeom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6"/>
                </a:solidFill>
              </a:defRPr>
            </a:lvl1pPr>
          </a:lstStyle>
          <a:p>
            <a:r>
              <a:rPr lang="en-GB" altLang="zh-CN"/>
              <a:t>Click icon to add picture</a:t>
            </a:r>
            <a:endParaRPr lang="zh-CN" altLang="en-US"/>
          </a:p>
        </p:txBody>
      </p:sp>
      <p:sp>
        <p:nvSpPr>
          <p:cNvPr id="43" name="Content placeholder 47" descr="Click icon to add picture">
            <a:extLst>
              <a:ext uri="{FF2B5EF4-FFF2-40B4-BE49-F238E27FC236}">
                <a16:creationId xmlns:a16="http://schemas.microsoft.com/office/drawing/2014/main" id="{DE6F9463-BB2D-43FC-BE8F-21D3F9A2539C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5906290" y="2105171"/>
            <a:ext cx="2193021" cy="617418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1" i="0">
                <a:solidFill>
                  <a:schemeClr val="accent6"/>
                </a:solidFill>
                <a:latin typeface="+mn-lt"/>
                <a:ea typeface="+mj-ea"/>
                <a:cs typeface="Posterama" panose="020B0504020200020000" pitchFamily="34" charset="0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 Master title style </a:t>
            </a:r>
          </a:p>
        </p:txBody>
      </p:sp>
      <p:sp>
        <p:nvSpPr>
          <p:cNvPr id="44" name="Content placeholder 47">
            <a:extLst>
              <a:ext uri="{FF2B5EF4-FFF2-40B4-BE49-F238E27FC236}">
                <a16:creationId xmlns:a16="http://schemas.microsoft.com/office/drawing/2014/main" id="{7DF27694-08A2-4530-B763-5A9B9D4DC6E0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5906292" y="2739721"/>
            <a:ext cx="2193021" cy="506399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lang="en-US" altLang="zh-CN" sz="1400" b="0" i="0" kern="1200" dirty="0">
                <a:solidFill>
                  <a:schemeClr val="accent6"/>
                </a:solidFill>
                <a:latin typeface="+mn-lt"/>
                <a:ea typeface="+mn-ea"/>
                <a:cs typeface="Posterama" panose="020B0504020200020000" pitchFamily="34" charset="0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altLang="zh-CN" dirty="0"/>
              <a:t>Click to edit Master text styles </a:t>
            </a:r>
          </a:p>
        </p:txBody>
      </p:sp>
      <p:sp>
        <p:nvSpPr>
          <p:cNvPr id="61" name="Content placeholder 47">
            <a:extLst>
              <a:ext uri="{FF2B5EF4-FFF2-40B4-BE49-F238E27FC236}">
                <a16:creationId xmlns:a16="http://schemas.microsoft.com/office/drawing/2014/main" id="{2EA753B3-D0BB-4484-85D1-E28345D99F4C}"/>
              </a:ext>
            </a:extLst>
          </p:cNvPr>
          <p:cNvSpPr>
            <a:spLocks noGrp="1"/>
          </p:cNvSpPr>
          <p:nvPr>
            <p:ph type="pic" sz="quarter" idx="73"/>
          </p:nvPr>
        </p:nvSpPr>
        <p:spPr>
          <a:xfrm>
            <a:off x="8445996" y="2004222"/>
            <a:ext cx="1173264" cy="1357920"/>
          </a:xfrm>
          <a:custGeom>
            <a:avLst/>
            <a:gdLst>
              <a:gd name="connsiteX0" fmla="*/ 0 w 4816475"/>
              <a:gd name="connsiteY0" fmla="*/ 2407444 h 4814888"/>
              <a:gd name="connsiteX1" fmla="*/ 1203722 w 4816475"/>
              <a:gd name="connsiteY1" fmla="*/ 1 h 4814888"/>
              <a:gd name="connsiteX2" fmla="*/ 3612753 w 4816475"/>
              <a:gd name="connsiteY2" fmla="*/ 1 h 4814888"/>
              <a:gd name="connsiteX3" fmla="*/ 4816475 w 4816475"/>
              <a:gd name="connsiteY3" fmla="*/ 2407444 h 4814888"/>
              <a:gd name="connsiteX4" fmla="*/ 3612753 w 4816475"/>
              <a:gd name="connsiteY4" fmla="*/ 4814887 h 4814888"/>
              <a:gd name="connsiteX5" fmla="*/ 1203722 w 4816475"/>
              <a:gd name="connsiteY5" fmla="*/ 4814887 h 4814888"/>
              <a:gd name="connsiteX6" fmla="*/ 0 w 4816475"/>
              <a:gd name="connsiteY6" fmla="*/ 2407444 h 4814888"/>
              <a:gd name="connsiteX0" fmla="*/ 0 w 4816475"/>
              <a:gd name="connsiteY0" fmla="*/ 2407443 h 4814886"/>
              <a:gd name="connsiteX1" fmla="*/ 2199402 w 4816475"/>
              <a:gd name="connsiteY1" fmla="*/ 243840 h 4814886"/>
              <a:gd name="connsiteX2" fmla="*/ 3612753 w 4816475"/>
              <a:gd name="connsiteY2" fmla="*/ 0 h 4814886"/>
              <a:gd name="connsiteX3" fmla="*/ 4816475 w 4816475"/>
              <a:gd name="connsiteY3" fmla="*/ 2407443 h 4814886"/>
              <a:gd name="connsiteX4" fmla="*/ 3612753 w 4816475"/>
              <a:gd name="connsiteY4" fmla="*/ 4814886 h 4814886"/>
              <a:gd name="connsiteX5" fmla="*/ 1203722 w 4816475"/>
              <a:gd name="connsiteY5" fmla="*/ 4814886 h 4814886"/>
              <a:gd name="connsiteX6" fmla="*/ 0 w 4816475"/>
              <a:gd name="connsiteY6" fmla="*/ 2407443 h 4814886"/>
              <a:gd name="connsiteX0" fmla="*/ 0 w 4816475"/>
              <a:gd name="connsiteY0" fmla="*/ 2163603 h 4571046"/>
              <a:gd name="connsiteX1" fmla="*/ 2199402 w 4816475"/>
              <a:gd name="connsiteY1" fmla="*/ 0 h 4571046"/>
              <a:gd name="connsiteX2" fmla="*/ 4608433 w 4816475"/>
              <a:gd name="connsiteY2" fmla="*/ 721360 h 4571046"/>
              <a:gd name="connsiteX3" fmla="*/ 4816475 w 4816475"/>
              <a:gd name="connsiteY3" fmla="*/ 2163603 h 4571046"/>
              <a:gd name="connsiteX4" fmla="*/ 3612753 w 4816475"/>
              <a:gd name="connsiteY4" fmla="*/ 4571046 h 4571046"/>
              <a:gd name="connsiteX5" fmla="*/ 1203722 w 4816475"/>
              <a:gd name="connsiteY5" fmla="*/ 4571046 h 4571046"/>
              <a:gd name="connsiteX6" fmla="*/ 0 w 4816475"/>
              <a:gd name="connsiteY6" fmla="*/ 2163603 h 4571046"/>
              <a:gd name="connsiteX0" fmla="*/ 0 w 4958715"/>
              <a:gd name="connsiteY0" fmla="*/ 2163603 h 4571046"/>
              <a:gd name="connsiteX1" fmla="*/ 2199402 w 4958715"/>
              <a:gd name="connsiteY1" fmla="*/ 0 h 4571046"/>
              <a:gd name="connsiteX2" fmla="*/ 4608433 w 4958715"/>
              <a:gd name="connsiteY2" fmla="*/ 721360 h 4571046"/>
              <a:gd name="connsiteX3" fmla="*/ 4958715 w 4958715"/>
              <a:gd name="connsiteY3" fmla="*/ 2803683 h 4571046"/>
              <a:gd name="connsiteX4" fmla="*/ 3612753 w 4958715"/>
              <a:gd name="connsiteY4" fmla="*/ 4571046 h 4571046"/>
              <a:gd name="connsiteX5" fmla="*/ 1203722 w 4958715"/>
              <a:gd name="connsiteY5" fmla="*/ 4571046 h 4571046"/>
              <a:gd name="connsiteX6" fmla="*/ 0 w 4958715"/>
              <a:gd name="connsiteY6" fmla="*/ 2163603 h 4571046"/>
              <a:gd name="connsiteX0" fmla="*/ 0 w 4916043"/>
              <a:gd name="connsiteY0" fmla="*/ 1273587 h 4571046"/>
              <a:gd name="connsiteX1" fmla="*/ 2156730 w 4916043"/>
              <a:gd name="connsiteY1" fmla="*/ 0 h 4571046"/>
              <a:gd name="connsiteX2" fmla="*/ 4565761 w 4916043"/>
              <a:gd name="connsiteY2" fmla="*/ 721360 h 4571046"/>
              <a:gd name="connsiteX3" fmla="*/ 4916043 w 4916043"/>
              <a:gd name="connsiteY3" fmla="*/ 2803683 h 4571046"/>
              <a:gd name="connsiteX4" fmla="*/ 3570081 w 4916043"/>
              <a:gd name="connsiteY4" fmla="*/ 4571046 h 4571046"/>
              <a:gd name="connsiteX5" fmla="*/ 1161050 w 4916043"/>
              <a:gd name="connsiteY5" fmla="*/ 4571046 h 4571046"/>
              <a:gd name="connsiteX6" fmla="*/ 0 w 4916043"/>
              <a:gd name="connsiteY6" fmla="*/ 1273587 h 4571046"/>
              <a:gd name="connsiteX0" fmla="*/ 0 w 4916043"/>
              <a:gd name="connsiteY0" fmla="*/ 1273587 h 4571046"/>
              <a:gd name="connsiteX1" fmla="*/ 2156730 w 4916043"/>
              <a:gd name="connsiteY1" fmla="*/ 0 h 4571046"/>
              <a:gd name="connsiteX2" fmla="*/ 4565761 w 4916043"/>
              <a:gd name="connsiteY2" fmla="*/ 721360 h 4571046"/>
              <a:gd name="connsiteX3" fmla="*/ 4916043 w 4916043"/>
              <a:gd name="connsiteY3" fmla="*/ 2803683 h 4571046"/>
              <a:gd name="connsiteX4" fmla="*/ 3570081 w 4916043"/>
              <a:gd name="connsiteY4" fmla="*/ 4571046 h 4571046"/>
              <a:gd name="connsiteX5" fmla="*/ 21098 w 4916043"/>
              <a:gd name="connsiteY5" fmla="*/ 3815142 h 4571046"/>
              <a:gd name="connsiteX6" fmla="*/ 0 w 4916043"/>
              <a:gd name="connsiteY6" fmla="*/ 1273587 h 4571046"/>
              <a:gd name="connsiteX0" fmla="*/ 0 w 4916043"/>
              <a:gd name="connsiteY0" fmla="*/ 1273587 h 5066346"/>
              <a:gd name="connsiteX1" fmla="*/ 2156730 w 4916043"/>
              <a:gd name="connsiteY1" fmla="*/ 0 h 5066346"/>
              <a:gd name="connsiteX2" fmla="*/ 4565761 w 4916043"/>
              <a:gd name="connsiteY2" fmla="*/ 721360 h 5066346"/>
              <a:gd name="connsiteX3" fmla="*/ 4916043 w 4916043"/>
              <a:gd name="connsiteY3" fmla="*/ 2803683 h 5066346"/>
              <a:gd name="connsiteX4" fmla="*/ 2236581 w 4916043"/>
              <a:gd name="connsiteY4" fmla="*/ 5066346 h 5066346"/>
              <a:gd name="connsiteX5" fmla="*/ 21098 w 4916043"/>
              <a:gd name="connsiteY5" fmla="*/ 3815142 h 5066346"/>
              <a:gd name="connsiteX6" fmla="*/ 0 w 4916043"/>
              <a:gd name="connsiteY6" fmla="*/ 1273587 h 5066346"/>
              <a:gd name="connsiteX0" fmla="*/ 0 w 4565761"/>
              <a:gd name="connsiteY0" fmla="*/ 1273587 h 5066346"/>
              <a:gd name="connsiteX1" fmla="*/ 2156730 w 4565761"/>
              <a:gd name="connsiteY1" fmla="*/ 0 h 5066346"/>
              <a:gd name="connsiteX2" fmla="*/ 4565761 w 4565761"/>
              <a:gd name="connsiteY2" fmla="*/ 721360 h 5066346"/>
              <a:gd name="connsiteX3" fmla="*/ 4405503 w 4565761"/>
              <a:gd name="connsiteY3" fmla="*/ 3801903 h 5066346"/>
              <a:gd name="connsiteX4" fmla="*/ 2236581 w 4565761"/>
              <a:gd name="connsiteY4" fmla="*/ 5066346 h 5066346"/>
              <a:gd name="connsiteX5" fmla="*/ 21098 w 4565761"/>
              <a:gd name="connsiteY5" fmla="*/ 3815142 h 5066346"/>
              <a:gd name="connsiteX6" fmla="*/ 0 w 4565761"/>
              <a:gd name="connsiteY6" fmla="*/ 1273587 h 5066346"/>
              <a:gd name="connsiteX0" fmla="*/ 0 w 4405503"/>
              <a:gd name="connsiteY0" fmla="*/ 1273587 h 5066346"/>
              <a:gd name="connsiteX1" fmla="*/ 2156730 w 4405503"/>
              <a:gd name="connsiteY1" fmla="*/ 0 h 5066346"/>
              <a:gd name="connsiteX2" fmla="*/ 4398121 w 4405503"/>
              <a:gd name="connsiteY2" fmla="*/ 1277620 h 5066346"/>
              <a:gd name="connsiteX3" fmla="*/ 4405503 w 4405503"/>
              <a:gd name="connsiteY3" fmla="*/ 3801903 h 5066346"/>
              <a:gd name="connsiteX4" fmla="*/ 2236581 w 4405503"/>
              <a:gd name="connsiteY4" fmla="*/ 5066346 h 5066346"/>
              <a:gd name="connsiteX5" fmla="*/ 21098 w 4405503"/>
              <a:gd name="connsiteY5" fmla="*/ 3815142 h 5066346"/>
              <a:gd name="connsiteX6" fmla="*/ 0 w 4405503"/>
              <a:gd name="connsiteY6" fmla="*/ 1273587 h 5066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405503" h="5066346">
                <a:moveTo>
                  <a:pt x="0" y="1273587"/>
                </a:moveTo>
                <a:lnTo>
                  <a:pt x="2156730" y="0"/>
                </a:lnTo>
                <a:lnTo>
                  <a:pt x="4398121" y="1277620"/>
                </a:lnTo>
                <a:cubicBezTo>
                  <a:pt x="4400582" y="2119048"/>
                  <a:pt x="4403042" y="2960475"/>
                  <a:pt x="4405503" y="3801903"/>
                </a:cubicBezTo>
                <a:lnTo>
                  <a:pt x="2236581" y="5066346"/>
                </a:lnTo>
                <a:lnTo>
                  <a:pt x="21098" y="3815142"/>
                </a:lnTo>
                <a:lnTo>
                  <a:pt x="0" y="1273587"/>
                </a:lnTo>
                <a:close/>
              </a:path>
            </a:pathLst>
          </a:custGeom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6"/>
                </a:solidFill>
              </a:defRPr>
            </a:lvl1pPr>
          </a:lstStyle>
          <a:p>
            <a:r>
              <a:rPr lang="en-GB" altLang="zh-CN"/>
              <a:t>Click icon to add picture</a:t>
            </a:r>
            <a:endParaRPr lang="zh-CN" altLang="en-US" dirty="0"/>
          </a:p>
        </p:txBody>
      </p:sp>
      <p:sp>
        <p:nvSpPr>
          <p:cNvPr id="45" name="Content placeholder 47" descr="Click icon to add picture">
            <a:extLst>
              <a:ext uri="{FF2B5EF4-FFF2-40B4-BE49-F238E27FC236}">
                <a16:creationId xmlns:a16="http://schemas.microsoft.com/office/drawing/2014/main" id="{20398AA4-3D68-487D-BE7C-9F1D45E3F5FF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9695970" y="2032203"/>
            <a:ext cx="2098039" cy="701144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1" i="0">
                <a:solidFill>
                  <a:schemeClr val="accent6"/>
                </a:solidFill>
                <a:latin typeface="+mn-lt"/>
                <a:ea typeface="+mj-ea"/>
                <a:cs typeface="Posterama" panose="020B0504020200020000" pitchFamily="34" charset="0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 Master title style </a:t>
            </a:r>
          </a:p>
        </p:txBody>
      </p:sp>
      <p:sp>
        <p:nvSpPr>
          <p:cNvPr id="46" name="Content placeholder 47">
            <a:extLst>
              <a:ext uri="{FF2B5EF4-FFF2-40B4-BE49-F238E27FC236}">
                <a16:creationId xmlns:a16="http://schemas.microsoft.com/office/drawing/2014/main" id="{6B623D7A-5E96-42AB-9B1F-14E445503187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9695970" y="2746407"/>
            <a:ext cx="2098038" cy="506399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None/>
              <a:defRPr lang="en-US" altLang="zh-CN" sz="1400" b="0" i="0" kern="1200" dirty="0">
                <a:solidFill>
                  <a:schemeClr val="accent6"/>
                </a:solidFill>
                <a:latin typeface="+mn-lt"/>
                <a:ea typeface="+mn-ea"/>
                <a:cs typeface="Posterama" panose="020B0504020200020000" pitchFamily="34" charset="0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altLang="zh-CN" dirty="0"/>
              <a:t>Click to edit Master text styles </a:t>
            </a:r>
          </a:p>
        </p:txBody>
      </p:sp>
      <p:sp>
        <p:nvSpPr>
          <p:cNvPr id="49" name="Content placeholder 47">
            <a:extLst>
              <a:ext uri="{FF2B5EF4-FFF2-40B4-BE49-F238E27FC236}">
                <a16:creationId xmlns:a16="http://schemas.microsoft.com/office/drawing/2014/main" id="{EAA5B0EA-1F3B-4D8B-9BB9-F9037A393705}"/>
              </a:ext>
            </a:extLst>
          </p:cNvPr>
          <p:cNvSpPr>
            <a:spLocks noGrp="1"/>
          </p:cNvSpPr>
          <p:nvPr>
            <p:ph type="pic" sz="quarter" idx="70"/>
          </p:nvPr>
        </p:nvSpPr>
        <p:spPr>
          <a:xfrm>
            <a:off x="4655876" y="3571991"/>
            <a:ext cx="1173264" cy="1357920"/>
          </a:xfrm>
          <a:custGeom>
            <a:avLst/>
            <a:gdLst>
              <a:gd name="connsiteX0" fmla="*/ 0 w 4816475"/>
              <a:gd name="connsiteY0" fmla="*/ 2407444 h 4814888"/>
              <a:gd name="connsiteX1" fmla="*/ 1203722 w 4816475"/>
              <a:gd name="connsiteY1" fmla="*/ 1 h 4814888"/>
              <a:gd name="connsiteX2" fmla="*/ 3612753 w 4816475"/>
              <a:gd name="connsiteY2" fmla="*/ 1 h 4814888"/>
              <a:gd name="connsiteX3" fmla="*/ 4816475 w 4816475"/>
              <a:gd name="connsiteY3" fmla="*/ 2407444 h 4814888"/>
              <a:gd name="connsiteX4" fmla="*/ 3612753 w 4816475"/>
              <a:gd name="connsiteY4" fmla="*/ 4814887 h 4814888"/>
              <a:gd name="connsiteX5" fmla="*/ 1203722 w 4816475"/>
              <a:gd name="connsiteY5" fmla="*/ 4814887 h 4814888"/>
              <a:gd name="connsiteX6" fmla="*/ 0 w 4816475"/>
              <a:gd name="connsiteY6" fmla="*/ 2407444 h 4814888"/>
              <a:gd name="connsiteX0" fmla="*/ 0 w 4816475"/>
              <a:gd name="connsiteY0" fmla="*/ 2407443 h 4814886"/>
              <a:gd name="connsiteX1" fmla="*/ 2199402 w 4816475"/>
              <a:gd name="connsiteY1" fmla="*/ 243840 h 4814886"/>
              <a:gd name="connsiteX2" fmla="*/ 3612753 w 4816475"/>
              <a:gd name="connsiteY2" fmla="*/ 0 h 4814886"/>
              <a:gd name="connsiteX3" fmla="*/ 4816475 w 4816475"/>
              <a:gd name="connsiteY3" fmla="*/ 2407443 h 4814886"/>
              <a:gd name="connsiteX4" fmla="*/ 3612753 w 4816475"/>
              <a:gd name="connsiteY4" fmla="*/ 4814886 h 4814886"/>
              <a:gd name="connsiteX5" fmla="*/ 1203722 w 4816475"/>
              <a:gd name="connsiteY5" fmla="*/ 4814886 h 4814886"/>
              <a:gd name="connsiteX6" fmla="*/ 0 w 4816475"/>
              <a:gd name="connsiteY6" fmla="*/ 2407443 h 4814886"/>
              <a:gd name="connsiteX0" fmla="*/ 0 w 4816475"/>
              <a:gd name="connsiteY0" fmla="*/ 2163603 h 4571046"/>
              <a:gd name="connsiteX1" fmla="*/ 2199402 w 4816475"/>
              <a:gd name="connsiteY1" fmla="*/ 0 h 4571046"/>
              <a:gd name="connsiteX2" fmla="*/ 4608433 w 4816475"/>
              <a:gd name="connsiteY2" fmla="*/ 721360 h 4571046"/>
              <a:gd name="connsiteX3" fmla="*/ 4816475 w 4816475"/>
              <a:gd name="connsiteY3" fmla="*/ 2163603 h 4571046"/>
              <a:gd name="connsiteX4" fmla="*/ 3612753 w 4816475"/>
              <a:gd name="connsiteY4" fmla="*/ 4571046 h 4571046"/>
              <a:gd name="connsiteX5" fmla="*/ 1203722 w 4816475"/>
              <a:gd name="connsiteY5" fmla="*/ 4571046 h 4571046"/>
              <a:gd name="connsiteX6" fmla="*/ 0 w 4816475"/>
              <a:gd name="connsiteY6" fmla="*/ 2163603 h 4571046"/>
              <a:gd name="connsiteX0" fmla="*/ 0 w 4958715"/>
              <a:gd name="connsiteY0" fmla="*/ 2163603 h 4571046"/>
              <a:gd name="connsiteX1" fmla="*/ 2199402 w 4958715"/>
              <a:gd name="connsiteY1" fmla="*/ 0 h 4571046"/>
              <a:gd name="connsiteX2" fmla="*/ 4608433 w 4958715"/>
              <a:gd name="connsiteY2" fmla="*/ 721360 h 4571046"/>
              <a:gd name="connsiteX3" fmla="*/ 4958715 w 4958715"/>
              <a:gd name="connsiteY3" fmla="*/ 2803683 h 4571046"/>
              <a:gd name="connsiteX4" fmla="*/ 3612753 w 4958715"/>
              <a:gd name="connsiteY4" fmla="*/ 4571046 h 4571046"/>
              <a:gd name="connsiteX5" fmla="*/ 1203722 w 4958715"/>
              <a:gd name="connsiteY5" fmla="*/ 4571046 h 4571046"/>
              <a:gd name="connsiteX6" fmla="*/ 0 w 4958715"/>
              <a:gd name="connsiteY6" fmla="*/ 2163603 h 4571046"/>
              <a:gd name="connsiteX0" fmla="*/ 0 w 4916043"/>
              <a:gd name="connsiteY0" fmla="*/ 1273587 h 4571046"/>
              <a:gd name="connsiteX1" fmla="*/ 2156730 w 4916043"/>
              <a:gd name="connsiteY1" fmla="*/ 0 h 4571046"/>
              <a:gd name="connsiteX2" fmla="*/ 4565761 w 4916043"/>
              <a:gd name="connsiteY2" fmla="*/ 721360 h 4571046"/>
              <a:gd name="connsiteX3" fmla="*/ 4916043 w 4916043"/>
              <a:gd name="connsiteY3" fmla="*/ 2803683 h 4571046"/>
              <a:gd name="connsiteX4" fmla="*/ 3570081 w 4916043"/>
              <a:gd name="connsiteY4" fmla="*/ 4571046 h 4571046"/>
              <a:gd name="connsiteX5" fmla="*/ 1161050 w 4916043"/>
              <a:gd name="connsiteY5" fmla="*/ 4571046 h 4571046"/>
              <a:gd name="connsiteX6" fmla="*/ 0 w 4916043"/>
              <a:gd name="connsiteY6" fmla="*/ 1273587 h 4571046"/>
              <a:gd name="connsiteX0" fmla="*/ 0 w 4916043"/>
              <a:gd name="connsiteY0" fmla="*/ 1273587 h 4571046"/>
              <a:gd name="connsiteX1" fmla="*/ 2156730 w 4916043"/>
              <a:gd name="connsiteY1" fmla="*/ 0 h 4571046"/>
              <a:gd name="connsiteX2" fmla="*/ 4565761 w 4916043"/>
              <a:gd name="connsiteY2" fmla="*/ 721360 h 4571046"/>
              <a:gd name="connsiteX3" fmla="*/ 4916043 w 4916043"/>
              <a:gd name="connsiteY3" fmla="*/ 2803683 h 4571046"/>
              <a:gd name="connsiteX4" fmla="*/ 3570081 w 4916043"/>
              <a:gd name="connsiteY4" fmla="*/ 4571046 h 4571046"/>
              <a:gd name="connsiteX5" fmla="*/ 21098 w 4916043"/>
              <a:gd name="connsiteY5" fmla="*/ 3815142 h 4571046"/>
              <a:gd name="connsiteX6" fmla="*/ 0 w 4916043"/>
              <a:gd name="connsiteY6" fmla="*/ 1273587 h 4571046"/>
              <a:gd name="connsiteX0" fmla="*/ 0 w 4916043"/>
              <a:gd name="connsiteY0" fmla="*/ 1273587 h 5066346"/>
              <a:gd name="connsiteX1" fmla="*/ 2156730 w 4916043"/>
              <a:gd name="connsiteY1" fmla="*/ 0 h 5066346"/>
              <a:gd name="connsiteX2" fmla="*/ 4565761 w 4916043"/>
              <a:gd name="connsiteY2" fmla="*/ 721360 h 5066346"/>
              <a:gd name="connsiteX3" fmla="*/ 4916043 w 4916043"/>
              <a:gd name="connsiteY3" fmla="*/ 2803683 h 5066346"/>
              <a:gd name="connsiteX4" fmla="*/ 2236581 w 4916043"/>
              <a:gd name="connsiteY4" fmla="*/ 5066346 h 5066346"/>
              <a:gd name="connsiteX5" fmla="*/ 21098 w 4916043"/>
              <a:gd name="connsiteY5" fmla="*/ 3815142 h 5066346"/>
              <a:gd name="connsiteX6" fmla="*/ 0 w 4916043"/>
              <a:gd name="connsiteY6" fmla="*/ 1273587 h 5066346"/>
              <a:gd name="connsiteX0" fmla="*/ 0 w 4565761"/>
              <a:gd name="connsiteY0" fmla="*/ 1273587 h 5066346"/>
              <a:gd name="connsiteX1" fmla="*/ 2156730 w 4565761"/>
              <a:gd name="connsiteY1" fmla="*/ 0 h 5066346"/>
              <a:gd name="connsiteX2" fmla="*/ 4565761 w 4565761"/>
              <a:gd name="connsiteY2" fmla="*/ 721360 h 5066346"/>
              <a:gd name="connsiteX3" fmla="*/ 4405503 w 4565761"/>
              <a:gd name="connsiteY3" fmla="*/ 3801903 h 5066346"/>
              <a:gd name="connsiteX4" fmla="*/ 2236581 w 4565761"/>
              <a:gd name="connsiteY4" fmla="*/ 5066346 h 5066346"/>
              <a:gd name="connsiteX5" fmla="*/ 21098 w 4565761"/>
              <a:gd name="connsiteY5" fmla="*/ 3815142 h 5066346"/>
              <a:gd name="connsiteX6" fmla="*/ 0 w 4565761"/>
              <a:gd name="connsiteY6" fmla="*/ 1273587 h 5066346"/>
              <a:gd name="connsiteX0" fmla="*/ 0 w 4405503"/>
              <a:gd name="connsiteY0" fmla="*/ 1273587 h 5066346"/>
              <a:gd name="connsiteX1" fmla="*/ 2156730 w 4405503"/>
              <a:gd name="connsiteY1" fmla="*/ 0 h 5066346"/>
              <a:gd name="connsiteX2" fmla="*/ 4398121 w 4405503"/>
              <a:gd name="connsiteY2" fmla="*/ 1277620 h 5066346"/>
              <a:gd name="connsiteX3" fmla="*/ 4405503 w 4405503"/>
              <a:gd name="connsiteY3" fmla="*/ 3801903 h 5066346"/>
              <a:gd name="connsiteX4" fmla="*/ 2236581 w 4405503"/>
              <a:gd name="connsiteY4" fmla="*/ 5066346 h 5066346"/>
              <a:gd name="connsiteX5" fmla="*/ 21098 w 4405503"/>
              <a:gd name="connsiteY5" fmla="*/ 3815142 h 5066346"/>
              <a:gd name="connsiteX6" fmla="*/ 0 w 4405503"/>
              <a:gd name="connsiteY6" fmla="*/ 1273587 h 5066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405503" h="5066346">
                <a:moveTo>
                  <a:pt x="0" y="1273587"/>
                </a:moveTo>
                <a:lnTo>
                  <a:pt x="2156730" y="0"/>
                </a:lnTo>
                <a:lnTo>
                  <a:pt x="4398121" y="1277620"/>
                </a:lnTo>
                <a:cubicBezTo>
                  <a:pt x="4400582" y="2119048"/>
                  <a:pt x="4403042" y="2960475"/>
                  <a:pt x="4405503" y="3801903"/>
                </a:cubicBezTo>
                <a:lnTo>
                  <a:pt x="2236581" y="5066346"/>
                </a:lnTo>
                <a:lnTo>
                  <a:pt x="21098" y="3815142"/>
                </a:lnTo>
                <a:lnTo>
                  <a:pt x="0" y="1273587"/>
                </a:lnTo>
                <a:close/>
              </a:path>
            </a:pathLst>
          </a:custGeom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6"/>
                </a:solidFill>
              </a:defRPr>
            </a:lvl1pPr>
          </a:lstStyle>
          <a:p>
            <a:r>
              <a:rPr lang="en-GB" altLang="zh-CN"/>
              <a:t>Click icon to add picture</a:t>
            </a:r>
            <a:endParaRPr lang="zh-CN" altLang="en-US"/>
          </a:p>
        </p:txBody>
      </p:sp>
      <p:sp>
        <p:nvSpPr>
          <p:cNvPr id="47" name="Content placeholder 47" descr="Click icon to add picture">
            <a:extLst>
              <a:ext uri="{FF2B5EF4-FFF2-40B4-BE49-F238E27FC236}">
                <a16:creationId xmlns:a16="http://schemas.microsoft.com/office/drawing/2014/main" id="{2C93687D-1E42-4B01-9F16-9FA098CE1153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5906290" y="3775516"/>
            <a:ext cx="2098039" cy="506399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1" i="0">
                <a:solidFill>
                  <a:schemeClr val="accent6"/>
                </a:solidFill>
                <a:latin typeface="+mn-lt"/>
                <a:ea typeface="+mj-ea"/>
                <a:cs typeface="Posterama" panose="020B0504020200020000" pitchFamily="34" charset="0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 Master title style </a:t>
            </a:r>
          </a:p>
        </p:txBody>
      </p:sp>
      <p:sp>
        <p:nvSpPr>
          <p:cNvPr id="50" name="Content placeholder 47">
            <a:extLst>
              <a:ext uri="{FF2B5EF4-FFF2-40B4-BE49-F238E27FC236}">
                <a16:creationId xmlns:a16="http://schemas.microsoft.com/office/drawing/2014/main" id="{7AB91474-458B-45F7-9773-FA375C2CF7FD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5906291" y="4312077"/>
            <a:ext cx="2098038" cy="506399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None/>
              <a:defRPr lang="en-US" altLang="zh-CN" sz="1400" b="0" i="0" kern="1200" dirty="0">
                <a:solidFill>
                  <a:schemeClr val="accent6"/>
                </a:solidFill>
                <a:latin typeface="+mn-lt"/>
                <a:ea typeface="+mn-ea"/>
                <a:cs typeface="Posterama" panose="020B0504020200020000" pitchFamily="34" charset="0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altLang="zh-CN" dirty="0"/>
              <a:t>Click to edit Master text styles </a:t>
            </a:r>
          </a:p>
        </p:txBody>
      </p:sp>
      <p:sp>
        <p:nvSpPr>
          <p:cNvPr id="62" name="Content placeholder 47">
            <a:extLst>
              <a:ext uri="{FF2B5EF4-FFF2-40B4-BE49-F238E27FC236}">
                <a16:creationId xmlns:a16="http://schemas.microsoft.com/office/drawing/2014/main" id="{52E587E7-A09A-4FB2-8774-8073E737F106}"/>
              </a:ext>
            </a:extLst>
          </p:cNvPr>
          <p:cNvSpPr>
            <a:spLocks noGrp="1"/>
          </p:cNvSpPr>
          <p:nvPr>
            <p:ph type="pic" sz="quarter" idx="74"/>
          </p:nvPr>
        </p:nvSpPr>
        <p:spPr>
          <a:xfrm>
            <a:off x="8445996" y="3571991"/>
            <a:ext cx="1173264" cy="1357920"/>
          </a:xfrm>
          <a:custGeom>
            <a:avLst/>
            <a:gdLst>
              <a:gd name="connsiteX0" fmla="*/ 0 w 4816475"/>
              <a:gd name="connsiteY0" fmla="*/ 2407444 h 4814888"/>
              <a:gd name="connsiteX1" fmla="*/ 1203722 w 4816475"/>
              <a:gd name="connsiteY1" fmla="*/ 1 h 4814888"/>
              <a:gd name="connsiteX2" fmla="*/ 3612753 w 4816475"/>
              <a:gd name="connsiteY2" fmla="*/ 1 h 4814888"/>
              <a:gd name="connsiteX3" fmla="*/ 4816475 w 4816475"/>
              <a:gd name="connsiteY3" fmla="*/ 2407444 h 4814888"/>
              <a:gd name="connsiteX4" fmla="*/ 3612753 w 4816475"/>
              <a:gd name="connsiteY4" fmla="*/ 4814887 h 4814888"/>
              <a:gd name="connsiteX5" fmla="*/ 1203722 w 4816475"/>
              <a:gd name="connsiteY5" fmla="*/ 4814887 h 4814888"/>
              <a:gd name="connsiteX6" fmla="*/ 0 w 4816475"/>
              <a:gd name="connsiteY6" fmla="*/ 2407444 h 4814888"/>
              <a:gd name="connsiteX0" fmla="*/ 0 w 4816475"/>
              <a:gd name="connsiteY0" fmla="*/ 2407443 h 4814886"/>
              <a:gd name="connsiteX1" fmla="*/ 2199402 w 4816475"/>
              <a:gd name="connsiteY1" fmla="*/ 243840 h 4814886"/>
              <a:gd name="connsiteX2" fmla="*/ 3612753 w 4816475"/>
              <a:gd name="connsiteY2" fmla="*/ 0 h 4814886"/>
              <a:gd name="connsiteX3" fmla="*/ 4816475 w 4816475"/>
              <a:gd name="connsiteY3" fmla="*/ 2407443 h 4814886"/>
              <a:gd name="connsiteX4" fmla="*/ 3612753 w 4816475"/>
              <a:gd name="connsiteY4" fmla="*/ 4814886 h 4814886"/>
              <a:gd name="connsiteX5" fmla="*/ 1203722 w 4816475"/>
              <a:gd name="connsiteY5" fmla="*/ 4814886 h 4814886"/>
              <a:gd name="connsiteX6" fmla="*/ 0 w 4816475"/>
              <a:gd name="connsiteY6" fmla="*/ 2407443 h 4814886"/>
              <a:gd name="connsiteX0" fmla="*/ 0 w 4816475"/>
              <a:gd name="connsiteY0" fmla="*/ 2163603 h 4571046"/>
              <a:gd name="connsiteX1" fmla="*/ 2199402 w 4816475"/>
              <a:gd name="connsiteY1" fmla="*/ 0 h 4571046"/>
              <a:gd name="connsiteX2" fmla="*/ 4608433 w 4816475"/>
              <a:gd name="connsiteY2" fmla="*/ 721360 h 4571046"/>
              <a:gd name="connsiteX3" fmla="*/ 4816475 w 4816475"/>
              <a:gd name="connsiteY3" fmla="*/ 2163603 h 4571046"/>
              <a:gd name="connsiteX4" fmla="*/ 3612753 w 4816475"/>
              <a:gd name="connsiteY4" fmla="*/ 4571046 h 4571046"/>
              <a:gd name="connsiteX5" fmla="*/ 1203722 w 4816475"/>
              <a:gd name="connsiteY5" fmla="*/ 4571046 h 4571046"/>
              <a:gd name="connsiteX6" fmla="*/ 0 w 4816475"/>
              <a:gd name="connsiteY6" fmla="*/ 2163603 h 4571046"/>
              <a:gd name="connsiteX0" fmla="*/ 0 w 4958715"/>
              <a:gd name="connsiteY0" fmla="*/ 2163603 h 4571046"/>
              <a:gd name="connsiteX1" fmla="*/ 2199402 w 4958715"/>
              <a:gd name="connsiteY1" fmla="*/ 0 h 4571046"/>
              <a:gd name="connsiteX2" fmla="*/ 4608433 w 4958715"/>
              <a:gd name="connsiteY2" fmla="*/ 721360 h 4571046"/>
              <a:gd name="connsiteX3" fmla="*/ 4958715 w 4958715"/>
              <a:gd name="connsiteY3" fmla="*/ 2803683 h 4571046"/>
              <a:gd name="connsiteX4" fmla="*/ 3612753 w 4958715"/>
              <a:gd name="connsiteY4" fmla="*/ 4571046 h 4571046"/>
              <a:gd name="connsiteX5" fmla="*/ 1203722 w 4958715"/>
              <a:gd name="connsiteY5" fmla="*/ 4571046 h 4571046"/>
              <a:gd name="connsiteX6" fmla="*/ 0 w 4958715"/>
              <a:gd name="connsiteY6" fmla="*/ 2163603 h 4571046"/>
              <a:gd name="connsiteX0" fmla="*/ 0 w 4916043"/>
              <a:gd name="connsiteY0" fmla="*/ 1273587 h 4571046"/>
              <a:gd name="connsiteX1" fmla="*/ 2156730 w 4916043"/>
              <a:gd name="connsiteY1" fmla="*/ 0 h 4571046"/>
              <a:gd name="connsiteX2" fmla="*/ 4565761 w 4916043"/>
              <a:gd name="connsiteY2" fmla="*/ 721360 h 4571046"/>
              <a:gd name="connsiteX3" fmla="*/ 4916043 w 4916043"/>
              <a:gd name="connsiteY3" fmla="*/ 2803683 h 4571046"/>
              <a:gd name="connsiteX4" fmla="*/ 3570081 w 4916043"/>
              <a:gd name="connsiteY4" fmla="*/ 4571046 h 4571046"/>
              <a:gd name="connsiteX5" fmla="*/ 1161050 w 4916043"/>
              <a:gd name="connsiteY5" fmla="*/ 4571046 h 4571046"/>
              <a:gd name="connsiteX6" fmla="*/ 0 w 4916043"/>
              <a:gd name="connsiteY6" fmla="*/ 1273587 h 4571046"/>
              <a:gd name="connsiteX0" fmla="*/ 0 w 4916043"/>
              <a:gd name="connsiteY0" fmla="*/ 1273587 h 4571046"/>
              <a:gd name="connsiteX1" fmla="*/ 2156730 w 4916043"/>
              <a:gd name="connsiteY1" fmla="*/ 0 h 4571046"/>
              <a:gd name="connsiteX2" fmla="*/ 4565761 w 4916043"/>
              <a:gd name="connsiteY2" fmla="*/ 721360 h 4571046"/>
              <a:gd name="connsiteX3" fmla="*/ 4916043 w 4916043"/>
              <a:gd name="connsiteY3" fmla="*/ 2803683 h 4571046"/>
              <a:gd name="connsiteX4" fmla="*/ 3570081 w 4916043"/>
              <a:gd name="connsiteY4" fmla="*/ 4571046 h 4571046"/>
              <a:gd name="connsiteX5" fmla="*/ 21098 w 4916043"/>
              <a:gd name="connsiteY5" fmla="*/ 3815142 h 4571046"/>
              <a:gd name="connsiteX6" fmla="*/ 0 w 4916043"/>
              <a:gd name="connsiteY6" fmla="*/ 1273587 h 4571046"/>
              <a:gd name="connsiteX0" fmla="*/ 0 w 4916043"/>
              <a:gd name="connsiteY0" fmla="*/ 1273587 h 5066346"/>
              <a:gd name="connsiteX1" fmla="*/ 2156730 w 4916043"/>
              <a:gd name="connsiteY1" fmla="*/ 0 h 5066346"/>
              <a:gd name="connsiteX2" fmla="*/ 4565761 w 4916043"/>
              <a:gd name="connsiteY2" fmla="*/ 721360 h 5066346"/>
              <a:gd name="connsiteX3" fmla="*/ 4916043 w 4916043"/>
              <a:gd name="connsiteY3" fmla="*/ 2803683 h 5066346"/>
              <a:gd name="connsiteX4" fmla="*/ 2236581 w 4916043"/>
              <a:gd name="connsiteY4" fmla="*/ 5066346 h 5066346"/>
              <a:gd name="connsiteX5" fmla="*/ 21098 w 4916043"/>
              <a:gd name="connsiteY5" fmla="*/ 3815142 h 5066346"/>
              <a:gd name="connsiteX6" fmla="*/ 0 w 4916043"/>
              <a:gd name="connsiteY6" fmla="*/ 1273587 h 5066346"/>
              <a:gd name="connsiteX0" fmla="*/ 0 w 4565761"/>
              <a:gd name="connsiteY0" fmla="*/ 1273587 h 5066346"/>
              <a:gd name="connsiteX1" fmla="*/ 2156730 w 4565761"/>
              <a:gd name="connsiteY1" fmla="*/ 0 h 5066346"/>
              <a:gd name="connsiteX2" fmla="*/ 4565761 w 4565761"/>
              <a:gd name="connsiteY2" fmla="*/ 721360 h 5066346"/>
              <a:gd name="connsiteX3" fmla="*/ 4405503 w 4565761"/>
              <a:gd name="connsiteY3" fmla="*/ 3801903 h 5066346"/>
              <a:gd name="connsiteX4" fmla="*/ 2236581 w 4565761"/>
              <a:gd name="connsiteY4" fmla="*/ 5066346 h 5066346"/>
              <a:gd name="connsiteX5" fmla="*/ 21098 w 4565761"/>
              <a:gd name="connsiteY5" fmla="*/ 3815142 h 5066346"/>
              <a:gd name="connsiteX6" fmla="*/ 0 w 4565761"/>
              <a:gd name="connsiteY6" fmla="*/ 1273587 h 5066346"/>
              <a:gd name="connsiteX0" fmla="*/ 0 w 4405503"/>
              <a:gd name="connsiteY0" fmla="*/ 1273587 h 5066346"/>
              <a:gd name="connsiteX1" fmla="*/ 2156730 w 4405503"/>
              <a:gd name="connsiteY1" fmla="*/ 0 h 5066346"/>
              <a:gd name="connsiteX2" fmla="*/ 4398121 w 4405503"/>
              <a:gd name="connsiteY2" fmla="*/ 1277620 h 5066346"/>
              <a:gd name="connsiteX3" fmla="*/ 4405503 w 4405503"/>
              <a:gd name="connsiteY3" fmla="*/ 3801903 h 5066346"/>
              <a:gd name="connsiteX4" fmla="*/ 2236581 w 4405503"/>
              <a:gd name="connsiteY4" fmla="*/ 5066346 h 5066346"/>
              <a:gd name="connsiteX5" fmla="*/ 21098 w 4405503"/>
              <a:gd name="connsiteY5" fmla="*/ 3815142 h 5066346"/>
              <a:gd name="connsiteX6" fmla="*/ 0 w 4405503"/>
              <a:gd name="connsiteY6" fmla="*/ 1273587 h 5066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405503" h="5066346">
                <a:moveTo>
                  <a:pt x="0" y="1273587"/>
                </a:moveTo>
                <a:lnTo>
                  <a:pt x="2156730" y="0"/>
                </a:lnTo>
                <a:lnTo>
                  <a:pt x="4398121" y="1277620"/>
                </a:lnTo>
                <a:cubicBezTo>
                  <a:pt x="4400582" y="2119048"/>
                  <a:pt x="4403042" y="2960475"/>
                  <a:pt x="4405503" y="3801903"/>
                </a:cubicBezTo>
                <a:lnTo>
                  <a:pt x="2236581" y="5066346"/>
                </a:lnTo>
                <a:lnTo>
                  <a:pt x="21098" y="3815142"/>
                </a:lnTo>
                <a:lnTo>
                  <a:pt x="0" y="1273587"/>
                </a:lnTo>
                <a:close/>
              </a:path>
            </a:pathLst>
          </a:custGeom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6"/>
                </a:solidFill>
              </a:defRPr>
            </a:lvl1pPr>
          </a:lstStyle>
          <a:p>
            <a:r>
              <a:rPr lang="en-GB" altLang="zh-CN"/>
              <a:t>Click icon to add picture</a:t>
            </a:r>
            <a:endParaRPr lang="zh-CN" altLang="en-US"/>
          </a:p>
        </p:txBody>
      </p:sp>
      <p:sp>
        <p:nvSpPr>
          <p:cNvPr id="51" name="Content placeholder 47" descr="Click icon to add picture">
            <a:extLst>
              <a:ext uri="{FF2B5EF4-FFF2-40B4-BE49-F238E27FC236}">
                <a16:creationId xmlns:a16="http://schemas.microsoft.com/office/drawing/2014/main" id="{FBF01DC7-D684-4484-B2AA-B50F7B1A00DA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9695969" y="3775516"/>
            <a:ext cx="2098039" cy="506399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1" i="0">
                <a:solidFill>
                  <a:schemeClr val="accent6"/>
                </a:solidFill>
                <a:latin typeface="+mn-lt"/>
                <a:ea typeface="+mj-ea"/>
                <a:cs typeface="Posterama" panose="020B0504020200020000" pitchFamily="34" charset="0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 Master title style </a:t>
            </a:r>
          </a:p>
        </p:txBody>
      </p:sp>
      <p:sp>
        <p:nvSpPr>
          <p:cNvPr id="52" name="Content placeholder 47">
            <a:extLst>
              <a:ext uri="{FF2B5EF4-FFF2-40B4-BE49-F238E27FC236}">
                <a16:creationId xmlns:a16="http://schemas.microsoft.com/office/drawing/2014/main" id="{6046C90F-8A25-4E70-9BC9-4496C6B94EBC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9695971" y="4312077"/>
            <a:ext cx="2098038" cy="506399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None/>
              <a:defRPr lang="en-US" altLang="zh-CN" sz="1400" b="0" i="0" kern="1200" dirty="0">
                <a:solidFill>
                  <a:schemeClr val="accent6"/>
                </a:solidFill>
                <a:latin typeface="+mn-lt"/>
                <a:ea typeface="+mn-ea"/>
                <a:cs typeface="Posterama" panose="020B0504020200020000" pitchFamily="34" charset="0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altLang="zh-CN" dirty="0"/>
              <a:t>Click to edit Master text styles </a:t>
            </a:r>
          </a:p>
        </p:txBody>
      </p:sp>
      <p:sp>
        <p:nvSpPr>
          <p:cNvPr id="55" name="Content placeholder 47">
            <a:extLst>
              <a:ext uri="{FF2B5EF4-FFF2-40B4-BE49-F238E27FC236}">
                <a16:creationId xmlns:a16="http://schemas.microsoft.com/office/drawing/2014/main" id="{D05B9A22-6B21-40BB-BBC1-9586C432A97B}"/>
              </a:ext>
            </a:extLst>
          </p:cNvPr>
          <p:cNvSpPr>
            <a:spLocks noGrp="1"/>
          </p:cNvSpPr>
          <p:nvPr>
            <p:ph type="pic" sz="quarter" idx="71"/>
          </p:nvPr>
        </p:nvSpPr>
        <p:spPr>
          <a:xfrm>
            <a:off x="4655876" y="5153614"/>
            <a:ext cx="1173264" cy="1357920"/>
          </a:xfrm>
          <a:custGeom>
            <a:avLst/>
            <a:gdLst>
              <a:gd name="connsiteX0" fmla="*/ 0 w 4816475"/>
              <a:gd name="connsiteY0" fmla="*/ 2407444 h 4814888"/>
              <a:gd name="connsiteX1" fmla="*/ 1203722 w 4816475"/>
              <a:gd name="connsiteY1" fmla="*/ 1 h 4814888"/>
              <a:gd name="connsiteX2" fmla="*/ 3612753 w 4816475"/>
              <a:gd name="connsiteY2" fmla="*/ 1 h 4814888"/>
              <a:gd name="connsiteX3" fmla="*/ 4816475 w 4816475"/>
              <a:gd name="connsiteY3" fmla="*/ 2407444 h 4814888"/>
              <a:gd name="connsiteX4" fmla="*/ 3612753 w 4816475"/>
              <a:gd name="connsiteY4" fmla="*/ 4814887 h 4814888"/>
              <a:gd name="connsiteX5" fmla="*/ 1203722 w 4816475"/>
              <a:gd name="connsiteY5" fmla="*/ 4814887 h 4814888"/>
              <a:gd name="connsiteX6" fmla="*/ 0 w 4816475"/>
              <a:gd name="connsiteY6" fmla="*/ 2407444 h 4814888"/>
              <a:gd name="connsiteX0" fmla="*/ 0 w 4816475"/>
              <a:gd name="connsiteY0" fmla="*/ 2407443 h 4814886"/>
              <a:gd name="connsiteX1" fmla="*/ 2199402 w 4816475"/>
              <a:gd name="connsiteY1" fmla="*/ 243840 h 4814886"/>
              <a:gd name="connsiteX2" fmla="*/ 3612753 w 4816475"/>
              <a:gd name="connsiteY2" fmla="*/ 0 h 4814886"/>
              <a:gd name="connsiteX3" fmla="*/ 4816475 w 4816475"/>
              <a:gd name="connsiteY3" fmla="*/ 2407443 h 4814886"/>
              <a:gd name="connsiteX4" fmla="*/ 3612753 w 4816475"/>
              <a:gd name="connsiteY4" fmla="*/ 4814886 h 4814886"/>
              <a:gd name="connsiteX5" fmla="*/ 1203722 w 4816475"/>
              <a:gd name="connsiteY5" fmla="*/ 4814886 h 4814886"/>
              <a:gd name="connsiteX6" fmla="*/ 0 w 4816475"/>
              <a:gd name="connsiteY6" fmla="*/ 2407443 h 4814886"/>
              <a:gd name="connsiteX0" fmla="*/ 0 w 4816475"/>
              <a:gd name="connsiteY0" fmla="*/ 2163603 h 4571046"/>
              <a:gd name="connsiteX1" fmla="*/ 2199402 w 4816475"/>
              <a:gd name="connsiteY1" fmla="*/ 0 h 4571046"/>
              <a:gd name="connsiteX2" fmla="*/ 4608433 w 4816475"/>
              <a:gd name="connsiteY2" fmla="*/ 721360 h 4571046"/>
              <a:gd name="connsiteX3" fmla="*/ 4816475 w 4816475"/>
              <a:gd name="connsiteY3" fmla="*/ 2163603 h 4571046"/>
              <a:gd name="connsiteX4" fmla="*/ 3612753 w 4816475"/>
              <a:gd name="connsiteY4" fmla="*/ 4571046 h 4571046"/>
              <a:gd name="connsiteX5" fmla="*/ 1203722 w 4816475"/>
              <a:gd name="connsiteY5" fmla="*/ 4571046 h 4571046"/>
              <a:gd name="connsiteX6" fmla="*/ 0 w 4816475"/>
              <a:gd name="connsiteY6" fmla="*/ 2163603 h 4571046"/>
              <a:gd name="connsiteX0" fmla="*/ 0 w 4958715"/>
              <a:gd name="connsiteY0" fmla="*/ 2163603 h 4571046"/>
              <a:gd name="connsiteX1" fmla="*/ 2199402 w 4958715"/>
              <a:gd name="connsiteY1" fmla="*/ 0 h 4571046"/>
              <a:gd name="connsiteX2" fmla="*/ 4608433 w 4958715"/>
              <a:gd name="connsiteY2" fmla="*/ 721360 h 4571046"/>
              <a:gd name="connsiteX3" fmla="*/ 4958715 w 4958715"/>
              <a:gd name="connsiteY3" fmla="*/ 2803683 h 4571046"/>
              <a:gd name="connsiteX4" fmla="*/ 3612753 w 4958715"/>
              <a:gd name="connsiteY4" fmla="*/ 4571046 h 4571046"/>
              <a:gd name="connsiteX5" fmla="*/ 1203722 w 4958715"/>
              <a:gd name="connsiteY5" fmla="*/ 4571046 h 4571046"/>
              <a:gd name="connsiteX6" fmla="*/ 0 w 4958715"/>
              <a:gd name="connsiteY6" fmla="*/ 2163603 h 4571046"/>
              <a:gd name="connsiteX0" fmla="*/ 0 w 4916043"/>
              <a:gd name="connsiteY0" fmla="*/ 1273587 h 4571046"/>
              <a:gd name="connsiteX1" fmla="*/ 2156730 w 4916043"/>
              <a:gd name="connsiteY1" fmla="*/ 0 h 4571046"/>
              <a:gd name="connsiteX2" fmla="*/ 4565761 w 4916043"/>
              <a:gd name="connsiteY2" fmla="*/ 721360 h 4571046"/>
              <a:gd name="connsiteX3" fmla="*/ 4916043 w 4916043"/>
              <a:gd name="connsiteY3" fmla="*/ 2803683 h 4571046"/>
              <a:gd name="connsiteX4" fmla="*/ 3570081 w 4916043"/>
              <a:gd name="connsiteY4" fmla="*/ 4571046 h 4571046"/>
              <a:gd name="connsiteX5" fmla="*/ 1161050 w 4916043"/>
              <a:gd name="connsiteY5" fmla="*/ 4571046 h 4571046"/>
              <a:gd name="connsiteX6" fmla="*/ 0 w 4916043"/>
              <a:gd name="connsiteY6" fmla="*/ 1273587 h 4571046"/>
              <a:gd name="connsiteX0" fmla="*/ 0 w 4916043"/>
              <a:gd name="connsiteY0" fmla="*/ 1273587 h 4571046"/>
              <a:gd name="connsiteX1" fmla="*/ 2156730 w 4916043"/>
              <a:gd name="connsiteY1" fmla="*/ 0 h 4571046"/>
              <a:gd name="connsiteX2" fmla="*/ 4565761 w 4916043"/>
              <a:gd name="connsiteY2" fmla="*/ 721360 h 4571046"/>
              <a:gd name="connsiteX3" fmla="*/ 4916043 w 4916043"/>
              <a:gd name="connsiteY3" fmla="*/ 2803683 h 4571046"/>
              <a:gd name="connsiteX4" fmla="*/ 3570081 w 4916043"/>
              <a:gd name="connsiteY4" fmla="*/ 4571046 h 4571046"/>
              <a:gd name="connsiteX5" fmla="*/ 21098 w 4916043"/>
              <a:gd name="connsiteY5" fmla="*/ 3815142 h 4571046"/>
              <a:gd name="connsiteX6" fmla="*/ 0 w 4916043"/>
              <a:gd name="connsiteY6" fmla="*/ 1273587 h 4571046"/>
              <a:gd name="connsiteX0" fmla="*/ 0 w 4916043"/>
              <a:gd name="connsiteY0" fmla="*/ 1273587 h 5066346"/>
              <a:gd name="connsiteX1" fmla="*/ 2156730 w 4916043"/>
              <a:gd name="connsiteY1" fmla="*/ 0 h 5066346"/>
              <a:gd name="connsiteX2" fmla="*/ 4565761 w 4916043"/>
              <a:gd name="connsiteY2" fmla="*/ 721360 h 5066346"/>
              <a:gd name="connsiteX3" fmla="*/ 4916043 w 4916043"/>
              <a:gd name="connsiteY3" fmla="*/ 2803683 h 5066346"/>
              <a:gd name="connsiteX4" fmla="*/ 2236581 w 4916043"/>
              <a:gd name="connsiteY4" fmla="*/ 5066346 h 5066346"/>
              <a:gd name="connsiteX5" fmla="*/ 21098 w 4916043"/>
              <a:gd name="connsiteY5" fmla="*/ 3815142 h 5066346"/>
              <a:gd name="connsiteX6" fmla="*/ 0 w 4916043"/>
              <a:gd name="connsiteY6" fmla="*/ 1273587 h 5066346"/>
              <a:gd name="connsiteX0" fmla="*/ 0 w 4565761"/>
              <a:gd name="connsiteY0" fmla="*/ 1273587 h 5066346"/>
              <a:gd name="connsiteX1" fmla="*/ 2156730 w 4565761"/>
              <a:gd name="connsiteY1" fmla="*/ 0 h 5066346"/>
              <a:gd name="connsiteX2" fmla="*/ 4565761 w 4565761"/>
              <a:gd name="connsiteY2" fmla="*/ 721360 h 5066346"/>
              <a:gd name="connsiteX3" fmla="*/ 4405503 w 4565761"/>
              <a:gd name="connsiteY3" fmla="*/ 3801903 h 5066346"/>
              <a:gd name="connsiteX4" fmla="*/ 2236581 w 4565761"/>
              <a:gd name="connsiteY4" fmla="*/ 5066346 h 5066346"/>
              <a:gd name="connsiteX5" fmla="*/ 21098 w 4565761"/>
              <a:gd name="connsiteY5" fmla="*/ 3815142 h 5066346"/>
              <a:gd name="connsiteX6" fmla="*/ 0 w 4565761"/>
              <a:gd name="connsiteY6" fmla="*/ 1273587 h 5066346"/>
              <a:gd name="connsiteX0" fmla="*/ 0 w 4405503"/>
              <a:gd name="connsiteY0" fmla="*/ 1273587 h 5066346"/>
              <a:gd name="connsiteX1" fmla="*/ 2156730 w 4405503"/>
              <a:gd name="connsiteY1" fmla="*/ 0 h 5066346"/>
              <a:gd name="connsiteX2" fmla="*/ 4398121 w 4405503"/>
              <a:gd name="connsiteY2" fmla="*/ 1277620 h 5066346"/>
              <a:gd name="connsiteX3" fmla="*/ 4405503 w 4405503"/>
              <a:gd name="connsiteY3" fmla="*/ 3801903 h 5066346"/>
              <a:gd name="connsiteX4" fmla="*/ 2236581 w 4405503"/>
              <a:gd name="connsiteY4" fmla="*/ 5066346 h 5066346"/>
              <a:gd name="connsiteX5" fmla="*/ 21098 w 4405503"/>
              <a:gd name="connsiteY5" fmla="*/ 3815142 h 5066346"/>
              <a:gd name="connsiteX6" fmla="*/ 0 w 4405503"/>
              <a:gd name="connsiteY6" fmla="*/ 1273587 h 5066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405503" h="5066346">
                <a:moveTo>
                  <a:pt x="0" y="1273587"/>
                </a:moveTo>
                <a:lnTo>
                  <a:pt x="2156730" y="0"/>
                </a:lnTo>
                <a:lnTo>
                  <a:pt x="4398121" y="1277620"/>
                </a:lnTo>
                <a:cubicBezTo>
                  <a:pt x="4400582" y="2119048"/>
                  <a:pt x="4403042" y="2960475"/>
                  <a:pt x="4405503" y="3801903"/>
                </a:cubicBezTo>
                <a:lnTo>
                  <a:pt x="2236581" y="5066346"/>
                </a:lnTo>
                <a:lnTo>
                  <a:pt x="21098" y="3815142"/>
                </a:lnTo>
                <a:lnTo>
                  <a:pt x="0" y="1273587"/>
                </a:lnTo>
                <a:close/>
              </a:path>
            </a:pathLst>
          </a:custGeom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6"/>
                </a:solidFill>
              </a:defRPr>
            </a:lvl1pPr>
          </a:lstStyle>
          <a:p>
            <a:r>
              <a:rPr lang="en-GB" altLang="zh-CN"/>
              <a:t>Click icon to add picture</a:t>
            </a:r>
            <a:endParaRPr lang="zh-CN" altLang="en-US"/>
          </a:p>
        </p:txBody>
      </p:sp>
      <p:sp>
        <p:nvSpPr>
          <p:cNvPr id="53" name="Content placeholder 47" descr="Click icon to add picture">
            <a:extLst>
              <a:ext uri="{FF2B5EF4-FFF2-40B4-BE49-F238E27FC236}">
                <a16:creationId xmlns:a16="http://schemas.microsoft.com/office/drawing/2014/main" id="{F5E2B418-8D0E-4995-A3ED-4348C6F4A1AF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5906290" y="5369449"/>
            <a:ext cx="2098039" cy="506399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1" i="0">
                <a:solidFill>
                  <a:schemeClr val="accent6"/>
                </a:solidFill>
                <a:latin typeface="+mn-lt"/>
                <a:ea typeface="+mj-ea"/>
                <a:cs typeface="Posterama" panose="020B0504020200020000" pitchFamily="34" charset="0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 Master title style </a:t>
            </a:r>
          </a:p>
        </p:txBody>
      </p:sp>
      <p:sp>
        <p:nvSpPr>
          <p:cNvPr id="58" name="Content placeholder 47">
            <a:extLst>
              <a:ext uri="{FF2B5EF4-FFF2-40B4-BE49-F238E27FC236}">
                <a16:creationId xmlns:a16="http://schemas.microsoft.com/office/drawing/2014/main" id="{90A2A6E4-4D11-4F28-9D68-BC28580EBC05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5906291" y="5901594"/>
            <a:ext cx="2098038" cy="506399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None/>
              <a:defRPr lang="en-US" altLang="zh-CN" sz="1400" b="0" i="0" kern="1200" dirty="0">
                <a:solidFill>
                  <a:schemeClr val="accent6"/>
                </a:solidFill>
                <a:latin typeface="+mn-lt"/>
                <a:ea typeface="+mn-ea"/>
                <a:cs typeface="Posterama" panose="020B0504020200020000" pitchFamily="34" charset="0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altLang="zh-CN" dirty="0"/>
              <a:t>Click to edit Master text styles </a:t>
            </a:r>
          </a:p>
        </p:txBody>
      </p:sp>
      <p:sp>
        <p:nvSpPr>
          <p:cNvPr id="63" name="Content placeholder 47">
            <a:extLst>
              <a:ext uri="{FF2B5EF4-FFF2-40B4-BE49-F238E27FC236}">
                <a16:creationId xmlns:a16="http://schemas.microsoft.com/office/drawing/2014/main" id="{A74DEBE4-2F74-4EB7-9501-8D37A3151B2A}"/>
              </a:ext>
            </a:extLst>
          </p:cNvPr>
          <p:cNvSpPr>
            <a:spLocks noGrp="1"/>
          </p:cNvSpPr>
          <p:nvPr>
            <p:ph type="pic" sz="quarter" idx="75"/>
          </p:nvPr>
        </p:nvSpPr>
        <p:spPr>
          <a:xfrm>
            <a:off x="8445996" y="5153614"/>
            <a:ext cx="1173264" cy="1357920"/>
          </a:xfrm>
          <a:custGeom>
            <a:avLst/>
            <a:gdLst>
              <a:gd name="connsiteX0" fmla="*/ 0 w 4816475"/>
              <a:gd name="connsiteY0" fmla="*/ 2407444 h 4814888"/>
              <a:gd name="connsiteX1" fmla="*/ 1203722 w 4816475"/>
              <a:gd name="connsiteY1" fmla="*/ 1 h 4814888"/>
              <a:gd name="connsiteX2" fmla="*/ 3612753 w 4816475"/>
              <a:gd name="connsiteY2" fmla="*/ 1 h 4814888"/>
              <a:gd name="connsiteX3" fmla="*/ 4816475 w 4816475"/>
              <a:gd name="connsiteY3" fmla="*/ 2407444 h 4814888"/>
              <a:gd name="connsiteX4" fmla="*/ 3612753 w 4816475"/>
              <a:gd name="connsiteY4" fmla="*/ 4814887 h 4814888"/>
              <a:gd name="connsiteX5" fmla="*/ 1203722 w 4816475"/>
              <a:gd name="connsiteY5" fmla="*/ 4814887 h 4814888"/>
              <a:gd name="connsiteX6" fmla="*/ 0 w 4816475"/>
              <a:gd name="connsiteY6" fmla="*/ 2407444 h 4814888"/>
              <a:gd name="connsiteX0" fmla="*/ 0 w 4816475"/>
              <a:gd name="connsiteY0" fmla="*/ 2407443 h 4814886"/>
              <a:gd name="connsiteX1" fmla="*/ 2199402 w 4816475"/>
              <a:gd name="connsiteY1" fmla="*/ 243840 h 4814886"/>
              <a:gd name="connsiteX2" fmla="*/ 3612753 w 4816475"/>
              <a:gd name="connsiteY2" fmla="*/ 0 h 4814886"/>
              <a:gd name="connsiteX3" fmla="*/ 4816475 w 4816475"/>
              <a:gd name="connsiteY3" fmla="*/ 2407443 h 4814886"/>
              <a:gd name="connsiteX4" fmla="*/ 3612753 w 4816475"/>
              <a:gd name="connsiteY4" fmla="*/ 4814886 h 4814886"/>
              <a:gd name="connsiteX5" fmla="*/ 1203722 w 4816475"/>
              <a:gd name="connsiteY5" fmla="*/ 4814886 h 4814886"/>
              <a:gd name="connsiteX6" fmla="*/ 0 w 4816475"/>
              <a:gd name="connsiteY6" fmla="*/ 2407443 h 4814886"/>
              <a:gd name="connsiteX0" fmla="*/ 0 w 4816475"/>
              <a:gd name="connsiteY0" fmla="*/ 2163603 h 4571046"/>
              <a:gd name="connsiteX1" fmla="*/ 2199402 w 4816475"/>
              <a:gd name="connsiteY1" fmla="*/ 0 h 4571046"/>
              <a:gd name="connsiteX2" fmla="*/ 4608433 w 4816475"/>
              <a:gd name="connsiteY2" fmla="*/ 721360 h 4571046"/>
              <a:gd name="connsiteX3" fmla="*/ 4816475 w 4816475"/>
              <a:gd name="connsiteY3" fmla="*/ 2163603 h 4571046"/>
              <a:gd name="connsiteX4" fmla="*/ 3612753 w 4816475"/>
              <a:gd name="connsiteY4" fmla="*/ 4571046 h 4571046"/>
              <a:gd name="connsiteX5" fmla="*/ 1203722 w 4816475"/>
              <a:gd name="connsiteY5" fmla="*/ 4571046 h 4571046"/>
              <a:gd name="connsiteX6" fmla="*/ 0 w 4816475"/>
              <a:gd name="connsiteY6" fmla="*/ 2163603 h 4571046"/>
              <a:gd name="connsiteX0" fmla="*/ 0 w 4958715"/>
              <a:gd name="connsiteY0" fmla="*/ 2163603 h 4571046"/>
              <a:gd name="connsiteX1" fmla="*/ 2199402 w 4958715"/>
              <a:gd name="connsiteY1" fmla="*/ 0 h 4571046"/>
              <a:gd name="connsiteX2" fmla="*/ 4608433 w 4958715"/>
              <a:gd name="connsiteY2" fmla="*/ 721360 h 4571046"/>
              <a:gd name="connsiteX3" fmla="*/ 4958715 w 4958715"/>
              <a:gd name="connsiteY3" fmla="*/ 2803683 h 4571046"/>
              <a:gd name="connsiteX4" fmla="*/ 3612753 w 4958715"/>
              <a:gd name="connsiteY4" fmla="*/ 4571046 h 4571046"/>
              <a:gd name="connsiteX5" fmla="*/ 1203722 w 4958715"/>
              <a:gd name="connsiteY5" fmla="*/ 4571046 h 4571046"/>
              <a:gd name="connsiteX6" fmla="*/ 0 w 4958715"/>
              <a:gd name="connsiteY6" fmla="*/ 2163603 h 4571046"/>
              <a:gd name="connsiteX0" fmla="*/ 0 w 4916043"/>
              <a:gd name="connsiteY0" fmla="*/ 1273587 h 4571046"/>
              <a:gd name="connsiteX1" fmla="*/ 2156730 w 4916043"/>
              <a:gd name="connsiteY1" fmla="*/ 0 h 4571046"/>
              <a:gd name="connsiteX2" fmla="*/ 4565761 w 4916043"/>
              <a:gd name="connsiteY2" fmla="*/ 721360 h 4571046"/>
              <a:gd name="connsiteX3" fmla="*/ 4916043 w 4916043"/>
              <a:gd name="connsiteY3" fmla="*/ 2803683 h 4571046"/>
              <a:gd name="connsiteX4" fmla="*/ 3570081 w 4916043"/>
              <a:gd name="connsiteY4" fmla="*/ 4571046 h 4571046"/>
              <a:gd name="connsiteX5" fmla="*/ 1161050 w 4916043"/>
              <a:gd name="connsiteY5" fmla="*/ 4571046 h 4571046"/>
              <a:gd name="connsiteX6" fmla="*/ 0 w 4916043"/>
              <a:gd name="connsiteY6" fmla="*/ 1273587 h 4571046"/>
              <a:gd name="connsiteX0" fmla="*/ 0 w 4916043"/>
              <a:gd name="connsiteY0" fmla="*/ 1273587 h 4571046"/>
              <a:gd name="connsiteX1" fmla="*/ 2156730 w 4916043"/>
              <a:gd name="connsiteY1" fmla="*/ 0 h 4571046"/>
              <a:gd name="connsiteX2" fmla="*/ 4565761 w 4916043"/>
              <a:gd name="connsiteY2" fmla="*/ 721360 h 4571046"/>
              <a:gd name="connsiteX3" fmla="*/ 4916043 w 4916043"/>
              <a:gd name="connsiteY3" fmla="*/ 2803683 h 4571046"/>
              <a:gd name="connsiteX4" fmla="*/ 3570081 w 4916043"/>
              <a:gd name="connsiteY4" fmla="*/ 4571046 h 4571046"/>
              <a:gd name="connsiteX5" fmla="*/ 21098 w 4916043"/>
              <a:gd name="connsiteY5" fmla="*/ 3815142 h 4571046"/>
              <a:gd name="connsiteX6" fmla="*/ 0 w 4916043"/>
              <a:gd name="connsiteY6" fmla="*/ 1273587 h 4571046"/>
              <a:gd name="connsiteX0" fmla="*/ 0 w 4916043"/>
              <a:gd name="connsiteY0" fmla="*/ 1273587 h 5066346"/>
              <a:gd name="connsiteX1" fmla="*/ 2156730 w 4916043"/>
              <a:gd name="connsiteY1" fmla="*/ 0 h 5066346"/>
              <a:gd name="connsiteX2" fmla="*/ 4565761 w 4916043"/>
              <a:gd name="connsiteY2" fmla="*/ 721360 h 5066346"/>
              <a:gd name="connsiteX3" fmla="*/ 4916043 w 4916043"/>
              <a:gd name="connsiteY3" fmla="*/ 2803683 h 5066346"/>
              <a:gd name="connsiteX4" fmla="*/ 2236581 w 4916043"/>
              <a:gd name="connsiteY4" fmla="*/ 5066346 h 5066346"/>
              <a:gd name="connsiteX5" fmla="*/ 21098 w 4916043"/>
              <a:gd name="connsiteY5" fmla="*/ 3815142 h 5066346"/>
              <a:gd name="connsiteX6" fmla="*/ 0 w 4916043"/>
              <a:gd name="connsiteY6" fmla="*/ 1273587 h 5066346"/>
              <a:gd name="connsiteX0" fmla="*/ 0 w 4565761"/>
              <a:gd name="connsiteY0" fmla="*/ 1273587 h 5066346"/>
              <a:gd name="connsiteX1" fmla="*/ 2156730 w 4565761"/>
              <a:gd name="connsiteY1" fmla="*/ 0 h 5066346"/>
              <a:gd name="connsiteX2" fmla="*/ 4565761 w 4565761"/>
              <a:gd name="connsiteY2" fmla="*/ 721360 h 5066346"/>
              <a:gd name="connsiteX3" fmla="*/ 4405503 w 4565761"/>
              <a:gd name="connsiteY3" fmla="*/ 3801903 h 5066346"/>
              <a:gd name="connsiteX4" fmla="*/ 2236581 w 4565761"/>
              <a:gd name="connsiteY4" fmla="*/ 5066346 h 5066346"/>
              <a:gd name="connsiteX5" fmla="*/ 21098 w 4565761"/>
              <a:gd name="connsiteY5" fmla="*/ 3815142 h 5066346"/>
              <a:gd name="connsiteX6" fmla="*/ 0 w 4565761"/>
              <a:gd name="connsiteY6" fmla="*/ 1273587 h 5066346"/>
              <a:gd name="connsiteX0" fmla="*/ 0 w 4405503"/>
              <a:gd name="connsiteY0" fmla="*/ 1273587 h 5066346"/>
              <a:gd name="connsiteX1" fmla="*/ 2156730 w 4405503"/>
              <a:gd name="connsiteY1" fmla="*/ 0 h 5066346"/>
              <a:gd name="connsiteX2" fmla="*/ 4398121 w 4405503"/>
              <a:gd name="connsiteY2" fmla="*/ 1277620 h 5066346"/>
              <a:gd name="connsiteX3" fmla="*/ 4405503 w 4405503"/>
              <a:gd name="connsiteY3" fmla="*/ 3801903 h 5066346"/>
              <a:gd name="connsiteX4" fmla="*/ 2236581 w 4405503"/>
              <a:gd name="connsiteY4" fmla="*/ 5066346 h 5066346"/>
              <a:gd name="connsiteX5" fmla="*/ 21098 w 4405503"/>
              <a:gd name="connsiteY5" fmla="*/ 3815142 h 5066346"/>
              <a:gd name="connsiteX6" fmla="*/ 0 w 4405503"/>
              <a:gd name="connsiteY6" fmla="*/ 1273587 h 5066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405503" h="5066346">
                <a:moveTo>
                  <a:pt x="0" y="1273587"/>
                </a:moveTo>
                <a:lnTo>
                  <a:pt x="2156730" y="0"/>
                </a:lnTo>
                <a:lnTo>
                  <a:pt x="4398121" y="1277620"/>
                </a:lnTo>
                <a:cubicBezTo>
                  <a:pt x="4400582" y="2119048"/>
                  <a:pt x="4403042" y="2960475"/>
                  <a:pt x="4405503" y="3801903"/>
                </a:cubicBezTo>
                <a:lnTo>
                  <a:pt x="2236581" y="5066346"/>
                </a:lnTo>
                <a:lnTo>
                  <a:pt x="21098" y="3815142"/>
                </a:lnTo>
                <a:lnTo>
                  <a:pt x="0" y="1273587"/>
                </a:lnTo>
                <a:close/>
              </a:path>
            </a:pathLst>
          </a:custGeom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6"/>
                </a:solidFill>
              </a:defRPr>
            </a:lvl1pPr>
          </a:lstStyle>
          <a:p>
            <a:r>
              <a:rPr lang="en-GB" altLang="zh-CN"/>
              <a:t>Click icon to add picture</a:t>
            </a:r>
            <a:endParaRPr lang="zh-CN" altLang="en-US"/>
          </a:p>
        </p:txBody>
      </p:sp>
      <p:sp>
        <p:nvSpPr>
          <p:cNvPr id="59" name="Content placeholder 47" descr="Click icon to add picture">
            <a:extLst>
              <a:ext uri="{FF2B5EF4-FFF2-40B4-BE49-F238E27FC236}">
                <a16:creationId xmlns:a16="http://schemas.microsoft.com/office/drawing/2014/main" id="{070D69EE-1032-4604-B201-FD13AE846E9E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9699692" y="5369449"/>
            <a:ext cx="2098039" cy="506399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1" i="0">
                <a:solidFill>
                  <a:schemeClr val="accent6"/>
                </a:solidFill>
                <a:latin typeface="+mn-lt"/>
                <a:ea typeface="+mj-ea"/>
                <a:cs typeface="Posterama" panose="020B0504020200020000" pitchFamily="34" charset="0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 Master title style </a:t>
            </a:r>
          </a:p>
        </p:txBody>
      </p:sp>
      <p:sp>
        <p:nvSpPr>
          <p:cNvPr id="60" name="Content placeholder 47">
            <a:extLst>
              <a:ext uri="{FF2B5EF4-FFF2-40B4-BE49-F238E27FC236}">
                <a16:creationId xmlns:a16="http://schemas.microsoft.com/office/drawing/2014/main" id="{B65187B8-CD7A-46B0-A851-E2456586E758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9695971" y="5901594"/>
            <a:ext cx="2098038" cy="506399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None/>
              <a:defRPr lang="en-US" altLang="zh-CN" sz="1400" b="0" i="0" kern="1200" dirty="0">
                <a:solidFill>
                  <a:schemeClr val="accent6"/>
                </a:solidFill>
                <a:latin typeface="+mn-lt"/>
                <a:ea typeface="+mn-ea"/>
                <a:cs typeface="Posterama" panose="020B0504020200020000" pitchFamily="34" charset="0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altLang="zh-CN" dirty="0"/>
              <a:t>Click to edit Master text styles </a:t>
            </a: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5FB04AD2-C50E-3C21-04EC-5B4853E974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8000"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9029" r="27364"/>
          <a:stretch/>
        </p:blipFill>
        <p:spPr>
          <a:xfrm rot="16200000">
            <a:off x="3910177" y="-2489398"/>
            <a:ext cx="7680961" cy="11272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311743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Column with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: Shape 6">
            <a:extLst>
              <a:ext uri="{FF2B5EF4-FFF2-40B4-BE49-F238E27FC236}">
                <a16:creationId xmlns:a16="http://schemas.microsoft.com/office/drawing/2014/main" id="{A533F602-EEC9-45F6-8223-8C8F4914919D}"/>
              </a:ext>
            </a:extLst>
          </p:cNvPr>
          <p:cNvSpPr/>
          <p:nvPr userDrawn="1"/>
        </p:nvSpPr>
        <p:spPr>
          <a:xfrm>
            <a:off x="2121636" y="2070606"/>
            <a:ext cx="1583013" cy="1841551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  <a:gd name="connsiteX0" fmla="*/ 2187388 w 4387647"/>
              <a:gd name="connsiteY0" fmla="*/ 0 h 5032188"/>
              <a:gd name="connsiteX1" fmla="*/ 4386729 w 4387647"/>
              <a:gd name="connsiteY1" fmla="*/ 1261035 h 5032188"/>
              <a:gd name="connsiteX2" fmla="*/ 4384192 w 4387647"/>
              <a:gd name="connsiteY2" fmla="*/ 3783287 h 5032188"/>
              <a:gd name="connsiteX3" fmla="*/ 2193365 w 4387647"/>
              <a:gd name="connsiteY3" fmla="*/ 5032188 h 5032188"/>
              <a:gd name="connsiteX4" fmla="*/ 0 w 4387647"/>
              <a:gd name="connsiteY4" fmla="*/ 3783106 h 5032188"/>
              <a:gd name="connsiteX5" fmla="*/ 0 w 4387647"/>
              <a:gd name="connsiteY5" fmla="*/ 1267012 h 5032188"/>
              <a:gd name="connsiteX6" fmla="*/ 2187388 w 4387647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87647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80208" y="2940604"/>
                  <a:pt x="4384192" y="3783287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noFill/>
          <a:ln w="19050">
            <a:gradFill>
              <a:gsLst>
                <a:gs pos="0">
                  <a:srgbClr val="53FFF3"/>
                </a:gs>
                <a:gs pos="100000">
                  <a:srgbClr val="7363A8"/>
                </a:gs>
              </a:gsLst>
              <a:lin ang="5400000" scaled="1"/>
            </a:gra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5" name="Freeform: Shape 7">
            <a:extLst>
              <a:ext uri="{FF2B5EF4-FFF2-40B4-BE49-F238E27FC236}">
                <a16:creationId xmlns:a16="http://schemas.microsoft.com/office/drawing/2014/main" id="{08F73F8C-5CF8-4470-AE2B-8E6D7952FF3E}"/>
              </a:ext>
            </a:extLst>
          </p:cNvPr>
          <p:cNvSpPr/>
          <p:nvPr userDrawn="1"/>
        </p:nvSpPr>
        <p:spPr>
          <a:xfrm>
            <a:off x="4174867" y="2073440"/>
            <a:ext cx="1583013" cy="1841551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  <a:gd name="connsiteX0" fmla="*/ 2187388 w 4387647"/>
              <a:gd name="connsiteY0" fmla="*/ 0 h 5032188"/>
              <a:gd name="connsiteX1" fmla="*/ 4386729 w 4387647"/>
              <a:gd name="connsiteY1" fmla="*/ 1261035 h 5032188"/>
              <a:gd name="connsiteX2" fmla="*/ 4384192 w 4387647"/>
              <a:gd name="connsiteY2" fmla="*/ 3783287 h 5032188"/>
              <a:gd name="connsiteX3" fmla="*/ 2193365 w 4387647"/>
              <a:gd name="connsiteY3" fmla="*/ 5032188 h 5032188"/>
              <a:gd name="connsiteX4" fmla="*/ 0 w 4387647"/>
              <a:gd name="connsiteY4" fmla="*/ 3783106 h 5032188"/>
              <a:gd name="connsiteX5" fmla="*/ 0 w 4387647"/>
              <a:gd name="connsiteY5" fmla="*/ 1267012 h 5032188"/>
              <a:gd name="connsiteX6" fmla="*/ 2187388 w 4387647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87647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80208" y="2940604"/>
                  <a:pt x="4384192" y="3783287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noFill/>
          <a:ln w="19050">
            <a:gradFill>
              <a:gsLst>
                <a:gs pos="0">
                  <a:srgbClr val="53FFF3"/>
                </a:gs>
                <a:gs pos="100000">
                  <a:srgbClr val="7363A8"/>
                </a:gs>
              </a:gsLst>
              <a:lin ang="5400000" scaled="1"/>
            </a:gra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6" name="Freeform: Shape 8">
            <a:extLst>
              <a:ext uri="{FF2B5EF4-FFF2-40B4-BE49-F238E27FC236}">
                <a16:creationId xmlns:a16="http://schemas.microsoft.com/office/drawing/2014/main" id="{1299AD72-44AB-4D37-ABBB-9E295508DDB5}"/>
              </a:ext>
            </a:extLst>
          </p:cNvPr>
          <p:cNvSpPr/>
          <p:nvPr userDrawn="1"/>
        </p:nvSpPr>
        <p:spPr>
          <a:xfrm>
            <a:off x="6308379" y="2064520"/>
            <a:ext cx="1583013" cy="1841551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  <a:gd name="connsiteX0" fmla="*/ 2187388 w 4387647"/>
              <a:gd name="connsiteY0" fmla="*/ 0 h 5032188"/>
              <a:gd name="connsiteX1" fmla="*/ 4386729 w 4387647"/>
              <a:gd name="connsiteY1" fmla="*/ 1261035 h 5032188"/>
              <a:gd name="connsiteX2" fmla="*/ 4384192 w 4387647"/>
              <a:gd name="connsiteY2" fmla="*/ 3783287 h 5032188"/>
              <a:gd name="connsiteX3" fmla="*/ 2193365 w 4387647"/>
              <a:gd name="connsiteY3" fmla="*/ 5032188 h 5032188"/>
              <a:gd name="connsiteX4" fmla="*/ 0 w 4387647"/>
              <a:gd name="connsiteY4" fmla="*/ 3783106 h 5032188"/>
              <a:gd name="connsiteX5" fmla="*/ 0 w 4387647"/>
              <a:gd name="connsiteY5" fmla="*/ 1267012 h 5032188"/>
              <a:gd name="connsiteX6" fmla="*/ 2187388 w 4387647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87647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80208" y="2940604"/>
                  <a:pt x="4384192" y="3783287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noFill/>
          <a:ln w="19050">
            <a:gradFill>
              <a:gsLst>
                <a:gs pos="0">
                  <a:srgbClr val="53FFF3"/>
                </a:gs>
                <a:gs pos="100000">
                  <a:srgbClr val="7363A8"/>
                </a:gs>
              </a:gsLst>
              <a:lin ang="5400000" scaled="1"/>
            </a:gra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7" name="Freeform: Shape 9">
            <a:extLst>
              <a:ext uri="{FF2B5EF4-FFF2-40B4-BE49-F238E27FC236}">
                <a16:creationId xmlns:a16="http://schemas.microsoft.com/office/drawing/2014/main" id="{834981F1-A16D-4CA2-8001-0D2A65539268}"/>
              </a:ext>
            </a:extLst>
          </p:cNvPr>
          <p:cNvSpPr/>
          <p:nvPr userDrawn="1"/>
        </p:nvSpPr>
        <p:spPr>
          <a:xfrm>
            <a:off x="8407152" y="2068980"/>
            <a:ext cx="1583013" cy="1841551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  <a:gd name="connsiteX0" fmla="*/ 2187388 w 4387647"/>
              <a:gd name="connsiteY0" fmla="*/ 0 h 5032188"/>
              <a:gd name="connsiteX1" fmla="*/ 4386729 w 4387647"/>
              <a:gd name="connsiteY1" fmla="*/ 1261035 h 5032188"/>
              <a:gd name="connsiteX2" fmla="*/ 4384192 w 4387647"/>
              <a:gd name="connsiteY2" fmla="*/ 3783287 h 5032188"/>
              <a:gd name="connsiteX3" fmla="*/ 2193365 w 4387647"/>
              <a:gd name="connsiteY3" fmla="*/ 5032188 h 5032188"/>
              <a:gd name="connsiteX4" fmla="*/ 0 w 4387647"/>
              <a:gd name="connsiteY4" fmla="*/ 3783106 h 5032188"/>
              <a:gd name="connsiteX5" fmla="*/ 0 w 4387647"/>
              <a:gd name="connsiteY5" fmla="*/ 1267012 h 5032188"/>
              <a:gd name="connsiteX6" fmla="*/ 2187388 w 4387647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87647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80208" y="2940604"/>
                  <a:pt x="4384192" y="3783287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noFill/>
          <a:ln w="19050">
            <a:gradFill>
              <a:gsLst>
                <a:gs pos="0">
                  <a:srgbClr val="53FFF3"/>
                </a:gs>
                <a:gs pos="100000">
                  <a:srgbClr val="7363A8"/>
                </a:gs>
              </a:gsLst>
              <a:lin ang="5400000" scaled="1"/>
            </a:gra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31" name="Content placeholder 47" descr="Click icon to add picture">
            <a:extLst>
              <a:ext uri="{FF2B5EF4-FFF2-40B4-BE49-F238E27FC236}">
                <a16:creationId xmlns:a16="http://schemas.microsoft.com/office/drawing/2014/main" id="{7AA46292-B7E4-4DB5-85D0-C4F19D66F86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1770" y="4416565"/>
            <a:ext cx="1877575" cy="5063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800" b="1">
                <a:solidFill>
                  <a:schemeClr val="accent6"/>
                </a:solidFill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 Master title style </a:t>
            </a:r>
          </a:p>
        </p:txBody>
      </p:sp>
      <p:sp>
        <p:nvSpPr>
          <p:cNvPr id="32" name="Content placeholder 47">
            <a:extLst>
              <a:ext uri="{FF2B5EF4-FFF2-40B4-BE49-F238E27FC236}">
                <a16:creationId xmlns:a16="http://schemas.microsoft.com/office/drawing/2014/main" id="{382E7D57-1A1A-432F-AEA9-9730DEE1572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2627" y="5007731"/>
            <a:ext cx="1691687" cy="81117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en-US" altLang="zh-CN" sz="1400" b="0" i="0" kern="1200" dirty="0">
                <a:solidFill>
                  <a:schemeClr val="accent6"/>
                </a:solidFill>
                <a:latin typeface="+mn-lt"/>
                <a:ea typeface="+mj-ea"/>
                <a:cs typeface="Posterama" panose="020B0504020200020000" pitchFamily="34" charset="0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marL="0" lvl="0" indent="0" algn="ctr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altLang="zh-CN" dirty="0"/>
              <a:t>Click to edit Master text styles </a:t>
            </a:r>
          </a:p>
        </p:txBody>
      </p:sp>
      <p:sp>
        <p:nvSpPr>
          <p:cNvPr id="33" name="Content placeholder 47" descr="Click icon to add picture">
            <a:extLst>
              <a:ext uri="{FF2B5EF4-FFF2-40B4-BE49-F238E27FC236}">
                <a16:creationId xmlns:a16="http://schemas.microsoft.com/office/drawing/2014/main" id="{E51F0384-440E-45B9-91E7-78CA13DE0B9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2888314" y="4416565"/>
            <a:ext cx="1877575" cy="5063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800" b="1">
                <a:solidFill>
                  <a:schemeClr val="accent6"/>
                </a:solidFill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 Master title style </a:t>
            </a:r>
          </a:p>
        </p:txBody>
      </p:sp>
      <p:sp>
        <p:nvSpPr>
          <p:cNvPr id="34" name="Content placeholder 47">
            <a:extLst>
              <a:ext uri="{FF2B5EF4-FFF2-40B4-BE49-F238E27FC236}">
                <a16:creationId xmlns:a16="http://schemas.microsoft.com/office/drawing/2014/main" id="{35EAE525-3692-40E8-894E-B19171FF64F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2979171" y="5007731"/>
            <a:ext cx="1691687" cy="81117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en-US" altLang="zh-CN" sz="1400" b="0" i="0" kern="1200" dirty="0">
                <a:solidFill>
                  <a:schemeClr val="accent6"/>
                </a:solidFill>
                <a:latin typeface="+mn-lt"/>
                <a:ea typeface="+mj-ea"/>
                <a:cs typeface="Posterama" panose="020B0504020200020000" pitchFamily="34" charset="0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marL="0" lvl="0" indent="0" algn="ctr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altLang="zh-CN" dirty="0"/>
              <a:t>Click to edit Master text styles </a:t>
            </a:r>
          </a:p>
        </p:txBody>
      </p:sp>
      <p:sp>
        <p:nvSpPr>
          <p:cNvPr id="35" name="Content placeholder 47" descr="Click icon to add picture">
            <a:extLst>
              <a:ext uri="{FF2B5EF4-FFF2-40B4-BE49-F238E27FC236}">
                <a16:creationId xmlns:a16="http://schemas.microsoft.com/office/drawing/2014/main" id="{847DC539-F391-4470-96EB-486AB02DADBB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5073898" y="4416565"/>
            <a:ext cx="1877575" cy="5063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800" b="1">
                <a:solidFill>
                  <a:schemeClr val="accent6"/>
                </a:solidFill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 Master title style </a:t>
            </a:r>
          </a:p>
        </p:txBody>
      </p:sp>
      <p:sp>
        <p:nvSpPr>
          <p:cNvPr id="36" name="Content placeholder 47">
            <a:extLst>
              <a:ext uri="{FF2B5EF4-FFF2-40B4-BE49-F238E27FC236}">
                <a16:creationId xmlns:a16="http://schemas.microsoft.com/office/drawing/2014/main" id="{50988645-D146-4AFE-B87D-279279577176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5164755" y="5007731"/>
            <a:ext cx="1691687" cy="81117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en-US" altLang="zh-CN" sz="1400" b="0" i="0" kern="1200" dirty="0">
                <a:solidFill>
                  <a:schemeClr val="accent6"/>
                </a:solidFill>
                <a:latin typeface="+mn-lt"/>
                <a:ea typeface="+mj-ea"/>
                <a:cs typeface="Posterama" panose="020B0504020200020000" pitchFamily="34" charset="0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marL="0" lvl="0" indent="0" algn="ctr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altLang="zh-CN" dirty="0"/>
              <a:t>Click to edit Master text styles </a:t>
            </a:r>
          </a:p>
        </p:txBody>
      </p:sp>
      <p:sp>
        <p:nvSpPr>
          <p:cNvPr id="37" name="Content placeholder 47" descr="Click icon to add picture">
            <a:extLst>
              <a:ext uri="{FF2B5EF4-FFF2-40B4-BE49-F238E27FC236}">
                <a16:creationId xmlns:a16="http://schemas.microsoft.com/office/drawing/2014/main" id="{6712E8AC-14E0-42CC-8037-7C1D0E044B61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259482" y="4416565"/>
            <a:ext cx="1877575" cy="5063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800" b="1">
                <a:solidFill>
                  <a:schemeClr val="accent6"/>
                </a:solidFill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 Master title style </a:t>
            </a:r>
          </a:p>
        </p:txBody>
      </p:sp>
      <p:sp>
        <p:nvSpPr>
          <p:cNvPr id="38" name="Content placeholder 47">
            <a:extLst>
              <a:ext uri="{FF2B5EF4-FFF2-40B4-BE49-F238E27FC236}">
                <a16:creationId xmlns:a16="http://schemas.microsoft.com/office/drawing/2014/main" id="{C68DF822-6F14-4839-BD33-6874C8136EE0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350339" y="5007731"/>
            <a:ext cx="1691687" cy="81117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en-US" altLang="zh-CN" sz="1400" b="0" i="0" kern="1200" dirty="0">
                <a:solidFill>
                  <a:schemeClr val="accent6"/>
                </a:solidFill>
                <a:latin typeface="+mn-lt"/>
                <a:ea typeface="+mj-ea"/>
                <a:cs typeface="Posterama" panose="020B0504020200020000" pitchFamily="34" charset="0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marL="0" lvl="0" indent="0" algn="ctr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altLang="zh-CN" dirty="0"/>
              <a:t>Click to edit Master text styles </a:t>
            </a:r>
          </a:p>
        </p:txBody>
      </p:sp>
      <p:sp>
        <p:nvSpPr>
          <p:cNvPr id="39" name="Content placeholder 47" descr="Click icon to add picture">
            <a:extLst>
              <a:ext uri="{FF2B5EF4-FFF2-40B4-BE49-F238E27FC236}">
                <a16:creationId xmlns:a16="http://schemas.microsoft.com/office/drawing/2014/main" id="{2D1F75C7-DA21-4400-B066-F38190B4F520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9445066" y="4416565"/>
            <a:ext cx="1877575" cy="5063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800" b="1">
                <a:solidFill>
                  <a:schemeClr val="accent6"/>
                </a:solidFill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 Master title style </a:t>
            </a:r>
          </a:p>
        </p:txBody>
      </p:sp>
      <p:sp>
        <p:nvSpPr>
          <p:cNvPr id="40" name="Content placeholder 47">
            <a:extLst>
              <a:ext uri="{FF2B5EF4-FFF2-40B4-BE49-F238E27FC236}">
                <a16:creationId xmlns:a16="http://schemas.microsoft.com/office/drawing/2014/main" id="{F7CF6BF0-A40D-4F18-B9DF-D9C4106065D2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9535923" y="5007731"/>
            <a:ext cx="1691687" cy="81117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en-US" altLang="zh-CN" sz="1400" b="0" i="0" kern="1200" dirty="0">
                <a:solidFill>
                  <a:schemeClr val="accent6"/>
                </a:solidFill>
                <a:latin typeface="+mn-lt"/>
                <a:ea typeface="+mj-ea"/>
                <a:cs typeface="Posterama" panose="020B0504020200020000" pitchFamily="34" charset="0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marL="0" lvl="0" indent="0" algn="ctr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altLang="zh-CN" dirty="0"/>
              <a:t>Click to edit Master text styles </a:t>
            </a:r>
          </a:p>
        </p:txBody>
      </p:sp>
      <p:sp>
        <p:nvSpPr>
          <p:cNvPr id="41" name="Content placeholder 47">
            <a:extLst>
              <a:ext uri="{FF2B5EF4-FFF2-40B4-BE49-F238E27FC236}">
                <a16:creationId xmlns:a16="http://schemas.microsoft.com/office/drawing/2014/main" id="{95C6B2A2-937E-4C7D-92E3-8A105DD43A98}"/>
              </a:ext>
            </a:extLst>
          </p:cNvPr>
          <p:cNvSpPr>
            <a:spLocks noGrp="1"/>
          </p:cNvSpPr>
          <p:nvPr>
            <p:ph type="pic" sz="quarter" idx="57"/>
          </p:nvPr>
        </p:nvSpPr>
        <p:spPr>
          <a:xfrm>
            <a:off x="983282" y="2073439"/>
            <a:ext cx="1621032" cy="1841551"/>
          </a:xfrm>
          <a:custGeom>
            <a:avLst/>
            <a:gdLst>
              <a:gd name="connsiteX0" fmla="*/ 0 w 4816475"/>
              <a:gd name="connsiteY0" fmla="*/ 2407444 h 4814888"/>
              <a:gd name="connsiteX1" fmla="*/ 1203722 w 4816475"/>
              <a:gd name="connsiteY1" fmla="*/ 1 h 4814888"/>
              <a:gd name="connsiteX2" fmla="*/ 3612753 w 4816475"/>
              <a:gd name="connsiteY2" fmla="*/ 1 h 4814888"/>
              <a:gd name="connsiteX3" fmla="*/ 4816475 w 4816475"/>
              <a:gd name="connsiteY3" fmla="*/ 2407444 h 4814888"/>
              <a:gd name="connsiteX4" fmla="*/ 3612753 w 4816475"/>
              <a:gd name="connsiteY4" fmla="*/ 4814887 h 4814888"/>
              <a:gd name="connsiteX5" fmla="*/ 1203722 w 4816475"/>
              <a:gd name="connsiteY5" fmla="*/ 4814887 h 4814888"/>
              <a:gd name="connsiteX6" fmla="*/ 0 w 4816475"/>
              <a:gd name="connsiteY6" fmla="*/ 2407444 h 4814888"/>
              <a:gd name="connsiteX0" fmla="*/ 0 w 4816475"/>
              <a:gd name="connsiteY0" fmla="*/ 2407443 h 4814886"/>
              <a:gd name="connsiteX1" fmla="*/ 2199402 w 4816475"/>
              <a:gd name="connsiteY1" fmla="*/ 243840 h 4814886"/>
              <a:gd name="connsiteX2" fmla="*/ 3612753 w 4816475"/>
              <a:gd name="connsiteY2" fmla="*/ 0 h 4814886"/>
              <a:gd name="connsiteX3" fmla="*/ 4816475 w 4816475"/>
              <a:gd name="connsiteY3" fmla="*/ 2407443 h 4814886"/>
              <a:gd name="connsiteX4" fmla="*/ 3612753 w 4816475"/>
              <a:gd name="connsiteY4" fmla="*/ 4814886 h 4814886"/>
              <a:gd name="connsiteX5" fmla="*/ 1203722 w 4816475"/>
              <a:gd name="connsiteY5" fmla="*/ 4814886 h 4814886"/>
              <a:gd name="connsiteX6" fmla="*/ 0 w 4816475"/>
              <a:gd name="connsiteY6" fmla="*/ 2407443 h 4814886"/>
              <a:gd name="connsiteX0" fmla="*/ 0 w 4816475"/>
              <a:gd name="connsiteY0" fmla="*/ 2163603 h 4571046"/>
              <a:gd name="connsiteX1" fmla="*/ 2199402 w 4816475"/>
              <a:gd name="connsiteY1" fmla="*/ 0 h 4571046"/>
              <a:gd name="connsiteX2" fmla="*/ 4608433 w 4816475"/>
              <a:gd name="connsiteY2" fmla="*/ 721360 h 4571046"/>
              <a:gd name="connsiteX3" fmla="*/ 4816475 w 4816475"/>
              <a:gd name="connsiteY3" fmla="*/ 2163603 h 4571046"/>
              <a:gd name="connsiteX4" fmla="*/ 3612753 w 4816475"/>
              <a:gd name="connsiteY4" fmla="*/ 4571046 h 4571046"/>
              <a:gd name="connsiteX5" fmla="*/ 1203722 w 4816475"/>
              <a:gd name="connsiteY5" fmla="*/ 4571046 h 4571046"/>
              <a:gd name="connsiteX6" fmla="*/ 0 w 4816475"/>
              <a:gd name="connsiteY6" fmla="*/ 2163603 h 4571046"/>
              <a:gd name="connsiteX0" fmla="*/ 0 w 4958715"/>
              <a:gd name="connsiteY0" fmla="*/ 2163603 h 4571046"/>
              <a:gd name="connsiteX1" fmla="*/ 2199402 w 4958715"/>
              <a:gd name="connsiteY1" fmla="*/ 0 h 4571046"/>
              <a:gd name="connsiteX2" fmla="*/ 4608433 w 4958715"/>
              <a:gd name="connsiteY2" fmla="*/ 721360 h 4571046"/>
              <a:gd name="connsiteX3" fmla="*/ 4958715 w 4958715"/>
              <a:gd name="connsiteY3" fmla="*/ 2803683 h 4571046"/>
              <a:gd name="connsiteX4" fmla="*/ 3612753 w 4958715"/>
              <a:gd name="connsiteY4" fmla="*/ 4571046 h 4571046"/>
              <a:gd name="connsiteX5" fmla="*/ 1203722 w 4958715"/>
              <a:gd name="connsiteY5" fmla="*/ 4571046 h 4571046"/>
              <a:gd name="connsiteX6" fmla="*/ 0 w 4958715"/>
              <a:gd name="connsiteY6" fmla="*/ 2163603 h 4571046"/>
              <a:gd name="connsiteX0" fmla="*/ 0 w 4916043"/>
              <a:gd name="connsiteY0" fmla="*/ 1273587 h 4571046"/>
              <a:gd name="connsiteX1" fmla="*/ 2156730 w 4916043"/>
              <a:gd name="connsiteY1" fmla="*/ 0 h 4571046"/>
              <a:gd name="connsiteX2" fmla="*/ 4565761 w 4916043"/>
              <a:gd name="connsiteY2" fmla="*/ 721360 h 4571046"/>
              <a:gd name="connsiteX3" fmla="*/ 4916043 w 4916043"/>
              <a:gd name="connsiteY3" fmla="*/ 2803683 h 4571046"/>
              <a:gd name="connsiteX4" fmla="*/ 3570081 w 4916043"/>
              <a:gd name="connsiteY4" fmla="*/ 4571046 h 4571046"/>
              <a:gd name="connsiteX5" fmla="*/ 1161050 w 4916043"/>
              <a:gd name="connsiteY5" fmla="*/ 4571046 h 4571046"/>
              <a:gd name="connsiteX6" fmla="*/ 0 w 4916043"/>
              <a:gd name="connsiteY6" fmla="*/ 1273587 h 4571046"/>
              <a:gd name="connsiteX0" fmla="*/ 0 w 4916043"/>
              <a:gd name="connsiteY0" fmla="*/ 1273587 h 4571046"/>
              <a:gd name="connsiteX1" fmla="*/ 2156730 w 4916043"/>
              <a:gd name="connsiteY1" fmla="*/ 0 h 4571046"/>
              <a:gd name="connsiteX2" fmla="*/ 4565761 w 4916043"/>
              <a:gd name="connsiteY2" fmla="*/ 721360 h 4571046"/>
              <a:gd name="connsiteX3" fmla="*/ 4916043 w 4916043"/>
              <a:gd name="connsiteY3" fmla="*/ 2803683 h 4571046"/>
              <a:gd name="connsiteX4" fmla="*/ 3570081 w 4916043"/>
              <a:gd name="connsiteY4" fmla="*/ 4571046 h 4571046"/>
              <a:gd name="connsiteX5" fmla="*/ 21098 w 4916043"/>
              <a:gd name="connsiteY5" fmla="*/ 3815142 h 4571046"/>
              <a:gd name="connsiteX6" fmla="*/ 0 w 4916043"/>
              <a:gd name="connsiteY6" fmla="*/ 1273587 h 4571046"/>
              <a:gd name="connsiteX0" fmla="*/ 0 w 4916043"/>
              <a:gd name="connsiteY0" fmla="*/ 1273587 h 5066346"/>
              <a:gd name="connsiteX1" fmla="*/ 2156730 w 4916043"/>
              <a:gd name="connsiteY1" fmla="*/ 0 h 5066346"/>
              <a:gd name="connsiteX2" fmla="*/ 4565761 w 4916043"/>
              <a:gd name="connsiteY2" fmla="*/ 721360 h 5066346"/>
              <a:gd name="connsiteX3" fmla="*/ 4916043 w 4916043"/>
              <a:gd name="connsiteY3" fmla="*/ 2803683 h 5066346"/>
              <a:gd name="connsiteX4" fmla="*/ 2236581 w 4916043"/>
              <a:gd name="connsiteY4" fmla="*/ 5066346 h 5066346"/>
              <a:gd name="connsiteX5" fmla="*/ 21098 w 4916043"/>
              <a:gd name="connsiteY5" fmla="*/ 3815142 h 5066346"/>
              <a:gd name="connsiteX6" fmla="*/ 0 w 4916043"/>
              <a:gd name="connsiteY6" fmla="*/ 1273587 h 5066346"/>
              <a:gd name="connsiteX0" fmla="*/ 0 w 4565761"/>
              <a:gd name="connsiteY0" fmla="*/ 1273587 h 5066346"/>
              <a:gd name="connsiteX1" fmla="*/ 2156730 w 4565761"/>
              <a:gd name="connsiteY1" fmla="*/ 0 h 5066346"/>
              <a:gd name="connsiteX2" fmla="*/ 4565761 w 4565761"/>
              <a:gd name="connsiteY2" fmla="*/ 721360 h 5066346"/>
              <a:gd name="connsiteX3" fmla="*/ 4405503 w 4565761"/>
              <a:gd name="connsiteY3" fmla="*/ 3801903 h 5066346"/>
              <a:gd name="connsiteX4" fmla="*/ 2236581 w 4565761"/>
              <a:gd name="connsiteY4" fmla="*/ 5066346 h 5066346"/>
              <a:gd name="connsiteX5" fmla="*/ 21098 w 4565761"/>
              <a:gd name="connsiteY5" fmla="*/ 3815142 h 5066346"/>
              <a:gd name="connsiteX6" fmla="*/ 0 w 4565761"/>
              <a:gd name="connsiteY6" fmla="*/ 1273587 h 5066346"/>
              <a:gd name="connsiteX0" fmla="*/ 0 w 4405503"/>
              <a:gd name="connsiteY0" fmla="*/ 1273587 h 5066346"/>
              <a:gd name="connsiteX1" fmla="*/ 2156730 w 4405503"/>
              <a:gd name="connsiteY1" fmla="*/ 0 h 5066346"/>
              <a:gd name="connsiteX2" fmla="*/ 4398121 w 4405503"/>
              <a:gd name="connsiteY2" fmla="*/ 1277620 h 5066346"/>
              <a:gd name="connsiteX3" fmla="*/ 4405503 w 4405503"/>
              <a:gd name="connsiteY3" fmla="*/ 3801903 h 5066346"/>
              <a:gd name="connsiteX4" fmla="*/ 2236581 w 4405503"/>
              <a:gd name="connsiteY4" fmla="*/ 5066346 h 5066346"/>
              <a:gd name="connsiteX5" fmla="*/ 21098 w 4405503"/>
              <a:gd name="connsiteY5" fmla="*/ 3815142 h 5066346"/>
              <a:gd name="connsiteX6" fmla="*/ 0 w 4405503"/>
              <a:gd name="connsiteY6" fmla="*/ 1273587 h 5066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405503" h="5066346">
                <a:moveTo>
                  <a:pt x="0" y="1273587"/>
                </a:moveTo>
                <a:lnTo>
                  <a:pt x="2156730" y="0"/>
                </a:lnTo>
                <a:lnTo>
                  <a:pt x="4398121" y="1277620"/>
                </a:lnTo>
                <a:cubicBezTo>
                  <a:pt x="4400582" y="2119048"/>
                  <a:pt x="4403042" y="2960475"/>
                  <a:pt x="4405503" y="3801903"/>
                </a:cubicBezTo>
                <a:lnTo>
                  <a:pt x="2236581" y="5066346"/>
                </a:lnTo>
                <a:lnTo>
                  <a:pt x="21098" y="3815142"/>
                </a:lnTo>
                <a:lnTo>
                  <a:pt x="0" y="127358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6"/>
                </a:solidFill>
              </a:defRPr>
            </a:lvl1pPr>
          </a:lstStyle>
          <a:p>
            <a:r>
              <a:rPr lang="en-GB" altLang="zh-CN"/>
              <a:t>Click icon to add picture</a:t>
            </a:r>
            <a:endParaRPr lang="zh-CN" altLang="en-US"/>
          </a:p>
        </p:txBody>
      </p:sp>
      <p:sp>
        <p:nvSpPr>
          <p:cNvPr id="42" name="Content placeholder 47">
            <a:extLst>
              <a:ext uri="{FF2B5EF4-FFF2-40B4-BE49-F238E27FC236}">
                <a16:creationId xmlns:a16="http://schemas.microsoft.com/office/drawing/2014/main" id="{A9ECEF10-95EB-4F03-B3B1-8FC0E421618E}"/>
              </a:ext>
            </a:extLst>
          </p:cNvPr>
          <p:cNvSpPr>
            <a:spLocks noGrp="1"/>
          </p:cNvSpPr>
          <p:nvPr>
            <p:ph type="pic" sz="quarter" idx="58"/>
          </p:nvPr>
        </p:nvSpPr>
        <p:spPr>
          <a:xfrm>
            <a:off x="3109346" y="2073439"/>
            <a:ext cx="1621032" cy="1841551"/>
          </a:xfrm>
          <a:custGeom>
            <a:avLst/>
            <a:gdLst>
              <a:gd name="connsiteX0" fmla="*/ 0 w 4816475"/>
              <a:gd name="connsiteY0" fmla="*/ 2407444 h 4814888"/>
              <a:gd name="connsiteX1" fmla="*/ 1203722 w 4816475"/>
              <a:gd name="connsiteY1" fmla="*/ 1 h 4814888"/>
              <a:gd name="connsiteX2" fmla="*/ 3612753 w 4816475"/>
              <a:gd name="connsiteY2" fmla="*/ 1 h 4814888"/>
              <a:gd name="connsiteX3" fmla="*/ 4816475 w 4816475"/>
              <a:gd name="connsiteY3" fmla="*/ 2407444 h 4814888"/>
              <a:gd name="connsiteX4" fmla="*/ 3612753 w 4816475"/>
              <a:gd name="connsiteY4" fmla="*/ 4814887 h 4814888"/>
              <a:gd name="connsiteX5" fmla="*/ 1203722 w 4816475"/>
              <a:gd name="connsiteY5" fmla="*/ 4814887 h 4814888"/>
              <a:gd name="connsiteX6" fmla="*/ 0 w 4816475"/>
              <a:gd name="connsiteY6" fmla="*/ 2407444 h 4814888"/>
              <a:gd name="connsiteX0" fmla="*/ 0 w 4816475"/>
              <a:gd name="connsiteY0" fmla="*/ 2407443 h 4814886"/>
              <a:gd name="connsiteX1" fmla="*/ 2199402 w 4816475"/>
              <a:gd name="connsiteY1" fmla="*/ 243840 h 4814886"/>
              <a:gd name="connsiteX2" fmla="*/ 3612753 w 4816475"/>
              <a:gd name="connsiteY2" fmla="*/ 0 h 4814886"/>
              <a:gd name="connsiteX3" fmla="*/ 4816475 w 4816475"/>
              <a:gd name="connsiteY3" fmla="*/ 2407443 h 4814886"/>
              <a:gd name="connsiteX4" fmla="*/ 3612753 w 4816475"/>
              <a:gd name="connsiteY4" fmla="*/ 4814886 h 4814886"/>
              <a:gd name="connsiteX5" fmla="*/ 1203722 w 4816475"/>
              <a:gd name="connsiteY5" fmla="*/ 4814886 h 4814886"/>
              <a:gd name="connsiteX6" fmla="*/ 0 w 4816475"/>
              <a:gd name="connsiteY6" fmla="*/ 2407443 h 4814886"/>
              <a:gd name="connsiteX0" fmla="*/ 0 w 4816475"/>
              <a:gd name="connsiteY0" fmla="*/ 2163603 h 4571046"/>
              <a:gd name="connsiteX1" fmla="*/ 2199402 w 4816475"/>
              <a:gd name="connsiteY1" fmla="*/ 0 h 4571046"/>
              <a:gd name="connsiteX2" fmla="*/ 4608433 w 4816475"/>
              <a:gd name="connsiteY2" fmla="*/ 721360 h 4571046"/>
              <a:gd name="connsiteX3" fmla="*/ 4816475 w 4816475"/>
              <a:gd name="connsiteY3" fmla="*/ 2163603 h 4571046"/>
              <a:gd name="connsiteX4" fmla="*/ 3612753 w 4816475"/>
              <a:gd name="connsiteY4" fmla="*/ 4571046 h 4571046"/>
              <a:gd name="connsiteX5" fmla="*/ 1203722 w 4816475"/>
              <a:gd name="connsiteY5" fmla="*/ 4571046 h 4571046"/>
              <a:gd name="connsiteX6" fmla="*/ 0 w 4816475"/>
              <a:gd name="connsiteY6" fmla="*/ 2163603 h 4571046"/>
              <a:gd name="connsiteX0" fmla="*/ 0 w 4958715"/>
              <a:gd name="connsiteY0" fmla="*/ 2163603 h 4571046"/>
              <a:gd name="connsiteX1" fmla="*/ 2199402 w 4958715"/>
              <a:gd name="connsiteY1" fmla="*/ 0 h 4571046"/>
              <a:gd name="connsiteX2" fmla="*/ 4608433 w 4958715"/>
              <a:gd name="connsiteY2" fmla="*/ 721360 h 4571046"/>
              <a:gd name="connsiteX3" fmla="*/ 4958715 w 4958715"/>
              <a:gd name="connsiteY3" fmla="*/ 2803683 h 4571046"/>
              <a:gd name="connsiteX4" fmla="*/ 3612753 w 4958715"/>
              <a:gd name="connsiteY4" fmla="*/ 4571046 h 4571046"/>
              <a:gd name="connsiteX5" fmla="*/ 1203722 w 4958715"/>
              <a:gd name="connsiteY5" fmla="*/ 4571046 h 4571046"/>
              <a:gd name="connsiteX6" fmla="*/ 0 w 4958715"/>
              <a:gd name="connsiteY6" fmla="*/ 2163603 h 4571046"/>
              <a:gd name="connsiteX0" fmla="*/ 0 w 4916043"/>
              <a:gd name="connsiteY0" fmla="*/ 1273587 h 4571046"/>
              <a:gd name="connsiteX1" fmla="*/ 2156730 w 4916043"/>
              <a:gd name="connsiteY1" fmla="*/ 0 h 4571046"/>
              <a:gd name="connsiteX2" fmla="*/ 4565761 w 4916043"/>
              <a:gd name="connsiteY2" fmla="*/ 721360 h 4571046"/>
              <a:gd name="connsiteX3" fmla="*/ 4916043 w 4916043"/>
              <a:gd name="connsiteY3" fmla="*/ 2803683 h 4571046"/>
              <a:gd name="connsiteX4" fmla="*/ 3570081 w 4916043"/>
              <a:gd name="connsiteY4" fmla="*/ 4571046 h 4571046"/>
              <a:gd name="connsiteX5" fmla="*/ 1161050 w 4916043"/>
              <a:gd name="connsiteY5" fmla="*/ 4571046 h 4571046"/>
              <a:gd name="connsiteX6" fmla="*/ 0 w 4916043"/>
              <a:gd name="connsiteY6" fmla="*/ 1273587 h 4571046"/>
              <a:gd name="connsiteX0" fmla="*/ 0 w 4916043"/>
              <a:gd name="connsiteY0" fmla="*/ 1273587 h 4571046"/>
              <a:gd name="connsiteX1" fmla="*/ 2156730 w 4916043"/>
              <a:gd name="connsiteY1" fmla="*/ 0 h 4571046"/>
              <a:gd name="connsiteX2" fmla="*/ 4565761 w 4916043"/>
              <a:gd name="connsiteY2" fmla="*/ 721360 h 4571046"/>
              <a:gd name="connsiteX3" fmla="*/ 4916043 w 4916043"/>
              <a:gd name="connsiteY3" fmla="*/ 2803683 h 4571046"/>
              <a:gd name="connsiteX4" fmla="*/ 3570081 w 4916043"/>
              <a:gd name="connsiteY4" fmla="*/ 4571046 h 4571046"/>
              <a:gd name="connsiteX5" fmla="*/ 21098 w 4916043"/>
              <a:gd name="connsiteY5" fmla="*/ 3815142 h 4571046"/>
              <a:gd name="connsiteX6" fmla="*/ 0 w 4916043"/>
              <a:gd name="connsiteY6" fmla="*/ 1273587 h 4571046"/>
              <a:gd name="connsiteX0" fmla="*/ 0 w 4916043"/>
              <a:gd name="connsiteY0" fmla="*/ 1273587 h 5066346"/>
              <a:gd name="connsiteX1" fmla="*/ 2156730 w 4916043"/>
              <a:gd name="connsiteY1" fmla="*/ 0 h 5066346"/>
              <a:gd name="connsiteX2" fmla="*/ 4565761 w 4916043"/>
              <a:gd name="connsiteY2" fmla="*/ 721360 h 5066346"/>
              <a:gd name="connsiteX3" fmla="*/ 4916043 w 4916043"/>
              <a:gd name="connsiteY3" fmla="*/ 2803683 h 5066346"/>
              <a:gd name="connsiteX4" fmla="*/ 2236581 w 4916043"/>
              <a:gd name="connsiteY4" fmla="*/ 5066346 h 5066346"/>
              <a:gd name="connsiteX5" fmla="*/ 21098 w 4916043"/>
              <a:gd name="connsiteY5" fmla="*/ 3815142 h 5066346"/>
              <a:gd name="connsiteX6" fmla="*/ 0 w 4916043"/>
              <a:gd name="connsiteY6" fmla="*/ 1273587 h 5066346"/>
              <a:gd name="connsiteX0" fmla="*/ 0 w 4565761"/>
              <a:gd name="connsiteY0" fmla="*/ 1273587 h 5066346"/>
              <a:gd name="connsiteX1" fmla="*/ 2156730 w 4565761"/>
              <a:gd name="connsiteY1" fmla="*/ 0 h 5066346"/>
              <a:gd name="connsiteX2" fmla="*/ 4565761 w 4565761"/>
              <a:gd name="connsiteY2" fmla="*/ 721360 h 5066346"/>
              <a:gd name="connsiteX3" fmla="*/ 4405503 w 4565761"/>
              <a:gd name="connsiteY3" fmla="*/ 3801903 h 5066346"/>
              <a:gd name="connsiteX4" fmla="*/ 2236581 w 4565761"/>
              <a:gd name="connsiteY4" fmla="*/ 5066346 h 5066346"/>
              <a:gd name="connsiteX5" fmla="*/ 21098 w 4565761"/>
              <a:gd name="connsiteY5" fmla="*/ 3815142 h 5066346"/>
              <a:gd name="connsiteX6" fmla="*/ 0 w 4565761"/>
              <a:gd name="connsiteY6" fmla="*/ 1273587 h 5066346"/>
              <a:gd name="connsiteX0" fmla="*/ 0 w 4405503"/>
              <a:gd name="connsiteY0" fmla="*/ 1273587 h 5066346"/>
              <a:gd name="connsiteX1" fmla="*/ 2156730 w 4405503"/>
              <a:gd name="connsiteY1" fmla="*/ 0 h 5066346"/>
              <a:gd name="connsiteX2" fmla="*/ 4398121 w 4405503"/>
              <a:gd name="connsiteY2" fmla="*/ 1277620 h 5066346"/>
              <a:gd name="connsiteX3" fmla="*/ 4405503 w 4405503"/>
              <a:gd name="connsiteY3" fmla="*/ 3801903 h 5066346"/>
              <a:gd name="connsiteX4" fmla="*/ 2236581 w 4405503"/>
              <a:gd name="connsiteY4" fmla="*/ 5066346 h 5066346"/>
              <a:gd name="connsiteX5" fmla="*/ 21098 w 4405503"/>
              <a:gd name="connsiteY5" fmla="*/ 3815142 h 5066346"/>
              <a:gd name="connsiteX6" fmla="*/ 0 w 4405503"/>
              <a:gd name="connsiteY6" fmla="*/ 1273587 h 5066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405503" h="5066346">
                <a:moveTo>
                  <a:pt x="0" y="1273587"/>
                </a:moveTo>
                <a:lnTo>
                  <a:pt x="2156730" y="0"/>
                </a:lnTo>
                <a:lnTo>
                  <a:pt x="4398121" y="1277620"/>
                </a:lnTo>
                <a:cubicBezTo>
                  <a:pt x="4400582" y="2119048"/>
                  <a:pt x="4403042" y="2960475"/>
                  <a:pt x="4405503" y="3801903"/>
                </a:cubicBezTo>
                <a:lnTo>
                  <a:pt x="2236581" y="5066346"/>
                </a:lnTo>
                <a:lnTo>
                  <a:pt x="21098" y="3815142"/>
                </a:lnTo>
                <a:lnTo>
                  <a:pt x="0" y="127358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6"/>
                </a:solidFill>
              </a:defRPr>
            </a:lvl1pPr>
          </a:lstStyle>
          <a:p>
            <a:r>
              <a:rPr lang="en-GB" altLang="zh-CN"/>
              <a:t>Click icon to add picture</a:t>
            </a:r>
            <a:endParaRPr lang="zh-CN" altLang="en-US"/>
          </a:p>
        </p:txBody>
      </p:sp>
      <p:sp>
        <p:nvSpPr>
          <p:cNvPr id="43" name="Content placeholder 47">
            <a:extLst>
              <a:ext uri="{FF2B5EF4-FFF2-40B4-BE49-F238E27FC236}">
                <a16:creationId xmlns:a16="http://schemas.microsoft.com/office/drawing/2014/main" id="{12D92FE1-9874-49B8-8FDC-F903A4843015}"/>
              </a:ext>
            </a:extLst>
          </p:cNvPr>
          <p:cNvSpPr>
            <a:spLocks noGrp="1"/>
          </p:cNvSpPr>
          <p:nvPr>
            <p:ph type="pic" sz="quarter" idx="59"/>
          </p:nvPr>
        </p:nvSpPr>
        <p:spPr>
          <a:xfrm>
            <a:off x="5235410" y="2073439"/>
            <a:ext cx="1621032" cy="1841551"/>
          </a:xfrm>
          <a:custGeom>
            <a:avLst/>
            <a:gdLst>
              <a:gd name="connsiteX0" fmla="*/ 0 w 4816475"/>
              <a:gd name="connsiteY0" fmla="*/ 2407444 h 4814888"/>
              <a:gd name="connsiteX1" fmla="*/ 1203722 w 4816475"/>
              <a:gd name="connsiteY1" fmla="*/ 1 h 4814888"/>
              <a:gd name="connsiteX2" fmla="*/ 3612753 w 4816475"/>
              <a:gd name="connsiteY2" fmla="*/ 1 h 4814888"/>
              <a:gd name="connsiteX3" fmla="*/ 4816475 w 4816475"/>
              <a:gd name="connsiteY3" fmla="*/ 2407444 h 4814888"/>
              <a:gd name="connsiteX4" fmla="*/ 3612753 w 4816475"/>
              <a:gd name="connsiteY4" fmla="*/ 4814887 h 4814888"/>
              <a:gd name="connsiteX5" fmla="*/ 1203722 w 4816475"/>
              <a:gd name="connsiteY5" fmla="*/ 4814887 h 4814888"/>
              <a:gd name="connsiteX6" fmla="*/ 0 w 4816475"/>
              <a:gd name="connsiteY6" fmla="*/ 2407444 h 4814888"/>
              <a:gd name="connsiteX0" fmla="*/ 0 w 4816475"/>
              <a:gd name="connsiteY0" fmla="*/ 2407443 h 4814886"/>
              <a:gd name="connsiteX1" fmla="*/ 2199402 w 4816475"/>
              <a:gd name="connsiteY1" fmla="*/ 243840 h 4814886"/>
              <a:gd name="connsiteX2" fmla="*/ 3612753 w 4816475"/>
              <a:gd name="connsiteY2" fmla="*/ 0 h 4814886"/>
              <a:gd name="connsiteX3" fmla="*/ 4816475 w 4816475"/>
              <a:gd name="connsiteY3" fmla="*/ 2407443 h 4814886"/>
              <a:gd name="connsiteX4" fmla="*/ 3612753 w 4816475"/>
              <a:gd name="connsiteY4" fmla="*/ 4814886 h 4814886"/>
              <a:gd name="connsiteX5" fmla="*/ 1203722 w 4816475"/>
              <a:gd name="connsiteY5" fmla="*/ 4814886 h 4814886"/>
              <a:gd name="connsiteX6" fmla="*/ 0 w 4816475"/>
              <a:gd name="connsiteY6" fmla="*/ 2407443 h 4814886"/>
              <a:gd name="connsiteX0" fmla="*/ 0 w 4816475"/>
              <a:gd name="connsiteY0" fmla="*/ 2163603 h 4571046"/>
              <a:gd name="connsiteX1" fmla="*/ 2199402 w 4816475"/>
              <a:gd name="connsiteY1" fmla="*/ 0 h 4571046"/>
              <a:gd name="connsiteX2" fmla="*/ 4608433 w 4816475"/>
              <a:gd name="connsiteY2" fmla="*/ 721360 h 4571046"/>
              <a:gd name="connsiteX3" fmla="*/ 4816475 w 4816475"/>
              <a:gd name="connsiteY3" fmla="*/ 2163603 h 4571046"/>
              <a:gd name="connsiteX4" fmla="*/ 3612753 w 4816475"/>
              <a:gd name="connsiteY4" fmla="*/ 4571046 h 4571046"/>
              <a:gd name="connsiteX5" fmla="*/ 1203722 w 4816475"/>
              <a:gd name="connsiteY5" fmla="*/ 4571046 h 4571046"/>
              <a:gd name="connsiteX6" fmla="*/ 0 w 4816475"/>
              <a:gd name="connsiteY6" fmla="*/ 2163603 h 4571046"/>
              <a:gd name="connsiteX0" fmla="*/ 0 w 4958715"/>
              <a:gd name="connsiteY0" fmla="*/ 2163603 h 4571046"/>
              <a:gd name="connsiteX1" fmla="*/ 2199402 w 4958715"/>
              <a:gd name="connsiteY1" fmla="*/ 0 h 4571046"/>
              <a:gd name="connsiteX2" fmla="*/ 4608433 w 4958715"/>
              <a:gd name="connsiteY2" fmla="*/ 721360 h 4571046"/>
              <a:gd name="connsiteX3" fmla="*/ 4958715 w 4958715"/>
              <a:gd name="connsiteY3" fmla="*/ 2803683 h 4571046"/>
              <a:gd name="connsiteX4" fmla="*/ 3612753 w 4958715"/>
              <a:gd name="connsiteY4" fmla="*/ 4571046 h 4571046"/>
              <a:gd name="connsiteX5" fmla="*/ 1203722 w 4958715"/>
              <a:gd name="connsiteY5" fmla="*/ 4571046 h 4571046"/>
              <a:gd name="connsiteX6" fmla="*/ 0 w 4958715"/>
              <a:gd name="connsiteY6" fmla="*/ 2163603 h 4571046"/>
              <a:gd name="connsiteX0" fmla="*/ 0 w 4916043"/>
              <a:gd name="connsiteY0" fmla="*/ 1273587 h 4571046"/>
              <a:gd name="connsiteX1" fmla="*/ 2156730 w 4916043"/>
              <a:gd name="connsiteY1" fmla="*/ 0 h 4571046"/>
              <a:gd name="connsiteX2" fmla="*/ 4565761 w 4916043"/>
              <a:gd name="connsiteY2" fmla="*/ 721360 h 4571046"/>
              <a:gd name="connsiteX3" fmla="*/ 4916043 w 4916043"/>
              <a:gd name="connsiteY3" fmla="*/ 2803683 h 4571046"/>
              <a:gd name="connsiteX4" fmla="*/ 3570081 w 4916043"/>
              <a:gd name="connsiteY4" fmla="*/ 4571046 h 4571046"/>
              <a:gd name="connsiteX5" fmla="*/ 1161050 w 4916043"/>
              <a:gd name="connsiteY5" fmla="*/ 4571046 h 4571046"/>
              <a:gd name="connsiteX6" fmla="*/ 0 w 4916043"/>
              <a:gd name="connsiteY6" fmla="*/ 1273587 h 4571046"/>
              <a:gd name="connsiteX0" fmla="*/ 0 w 4916043"/>
              <a:gd name="connsiteY0" fmla="*/ 1273587 h 4571046"/>
              <a:gd name="connsiteX1" fmla="*/ 2156730 w 4916043"/>
              <a:gd name="connsiteY1" fmla="*/ 0 h 4571046"/>
              <a:gd name="connsiteX2" fmla="*/ 4565761 w 4916043"/>
              <a:gd name="connsiteY2" fmla="*/ 721360 h 4571046"/>
              <a:gd name="connsiteX3" fmla="*/ 4916043 w 4916043"/>
              <a:gd name="connsiteY3" fmla="*/ 2803683 h 4571046"/>
              <a:gd name="connsiteX4" fmla="*/ 3570081 w 4916043"/>
              <a:gd name="connsiteY4" fmla="*/ 4571046 h 4571046"/>
              <a:gd name="connsiteX5" fmla="*/ 21098 w 4916043"/>
              <a:gd name="connsiteY5" fmla="*/ 3815142 h 4571046"/>
              <a:gd name="connsiteX6" fmla="*/ 0 w 4916043"/>
              <a:gd name="connsiteY6" fmla="*/ 1273587 h 4571046"/>
              <a:gd name="connsiteX0" fmla="*/ 0 w 4916043"/>
              <a:gd name="connsiteY0" fmla="*/ 1273587 h 5066346"/>
              <a:gd name="connsiteX1" fmla="*/ 2156730 w 4916043"/>
              <a:gd name="connsiteY1" fmla="*/ 0 h 5066346"/>
              <a:gd name="connsiteX2" fmla="*/ 4565761 w 4916043"/>
              <a:gd name="connsiteY2" fmla="*/ 721360 h 5066346"/>
              <a:gd name="connsiteX3" fmla="*/ 4916043 w 4916043"/>
              <a:gd name="connsiteY3" fmla="*/ 2803683 h 5066346"/>
              <a:gd name="connsiteX4" fmla="*/ 2236581 w 4916043"/>
              <a:gd name="connsiteY4" fmla="*/ 5066346 h 5066346"/>
              <a:gd name="connsiteX5" fmla="*/ 21098 w 4916043"/>
              <a:gd name="connsiteY5" fmla="*/ 3815142 h 5066346"/>
              <a:gd name="connsiteX6" fmla="*/ 0 w 4916043"/>
              <a:gd name="connsiteY6" fmla="*/ 1273587 h 5066346"/>
              <a:gd name="connsiteX0" fmla="*/ 0 w 4565761"/>
              <a:gd name="connsiteY0" fmla="*/ 1273587 h 5066346"/>
              <a:gd name="connsiteX1" fmla="*/ 2156730 w 4565761"/>
              <a:gd name="connsiteY1" fmla="*/ 0 h 5066346"/>
              <a:gd name="connsiteX2" fmla="*/ 4565761 w 4565761"/>
              <a:gd name="connsiteY2" fmla="*/ 721360 h 5066346"/>
              <a:gd name="connsiteX3" fmla="*/ 4405503 w 4565761"/>
              <a:gd name="connsiteY3" fmla="*/ 3801903 h 5066346"/>
              <a:gd name="connsiteX4" fmla="*/ 2236581 w 4565761"/>
              <a:gd name="connsiteY4" fmla="*/ 5066346 h 5066346"/>
              <a:gd name="connsiteX5" fmla="*/ 21098 w 4565761"/>
              <a:gd name="connsiteY5" fmla="*/ 3815142 h 5066346"/>
              <a:gd name="connsiteX6" fmla="*/ 0 w 4565761"/>
              <a:gd name="connsiteY6" fmla="*/ 1273587 h 5066346"/>
              <a:gd name="connsiteX0" fmla="*/ 0 w 4405503"/>
              <a:gd name="connsiteY0" fmla="*/ 1273587 h 5066346"/>
              <a:gd name="connsiteX1" fmla="*/ 2156730 w 4405503"/>
              <a:gd name="connsiteY1" fmla="*/ 0 h 5066346"/>
              <a:gd name="connsiteX2" fmla="*/ 4398121 w 4405503"/>
              <a:gd name="connsiteY2" fmla="*/ 1277620 h 5066346"/>
              <a:gd name="connsiteX3" fmla="*/ 4405503 w 4405503"/>
              <a:gd name="connsiteY3" fmla="*/ 3801903 h 5066346"/>
              <a:gd name="connsiteX4" fmla="*/ 2236581 w 4405503"/>
              <a:gd name="connsiteY4" fmla="*/ 5066346 h 5066346"/>
              <a:gd name="connsiteX5" fmla="*/ 21098 w 4405503"/>
              <a:gd name="connsiteY5" fmla="*/ 3815142 h 5066346"/>
              <a:gd name="connsiteX6" fmla="*/ 0 w 4405503"/>
              <a:gd name="connsiteY6" fmla="*/ 1273587 h 5066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405503" h="5066346">
                <a:moveTo>
                  <a:pt x="0" y="1273587"/>
                </a:moveTo>
                <a:lnTo>
                  <a:pt x="2156730" y="0"/>
                </a:lnTo>
                <a:lnTo>
                  <a:pt x="4398121" y="1277620"/>
                </a:lnTo>
                <a:cubicBezTo>
                  <a:pt x="4400582" y="2119048"/>
                  <a:pt x="4403042" y="2960475"/>
                  <a:pt x="4405503" y="3801903"/>
                </a:cubicBezTo>
                <a:lnTo>
                  <a:pt x="2236581" y="5066346"/>
                </a:lnTo>
                <a:lnTo>
                  <a:pt x="21098" y="3815142"/>
                </a:lnTo>
                <a:lnTo>
                  <a:pt x="0" y="127358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6"/>
                </a:solidFill>
              </a:defRPr>
            </a:lvl1pPr>
          </a:lstStyle>
          <a:p>
            <a:r>
              <a:rPr lang="en-GB" altLang="zh-CN"/>
              <a:t>Click icon to add picture</a:t>
            </a:r>
            <a:endParaRPr lang="zh-CN" altLang="en-US"/>
          </a:p>
        </p:txBody>
      </p:sp>
      <p:sp>
        <p:nvSpPr>
          <p:cNvPr id="44" name="Content placeholder 47">
            <a:extLst>
              <a:ext uri="{FF2B5EF4-FFF2-40B4-BE49-F238E27FC236}">
                <a16:creationId xmlns:a16="http://schemas.microsoft.com/office/drawing/2014/main" id="{12070F52-AB91-476E-9FE0-5403568A11DD}"/>
              </a:ext>
            </a:extLst>
          </p:cNvPr>
          <p:cNvSpPr>
            <a:spLocks noGrp="1"/>
          </p:cNvSpPr>
          <p:nvPr>
            <p:ph type="pic" sz="quarter" idx="60"/>
          </p:nvPr>
        </p:nvSpPr>
        <p:spPr>
          <a:xfrm>
            <a:off x="7361474" y="2073439"/>
            <a:ext cx="1621032" cy="1841551"/>
          </a:xfrm>
          <a:custGeom>
            <a:avLst/>
            <a:gdLst>
              <a:gd name="connsiteX0" fmla="*/ 0 w 4816475"/>
              <a:gd name="connsiteY0" fmla="*/ 2407444 h 4814888"/>
              <a:gd name="connsiteX1" fmla="*/ 1203722 w 4816475"/>
              <a:gd name="connsiteY1" fmla="*/ 1 h 4814888"/>
              <a:gd name="connsiteX2" fmla="*/ 3612753 w 4816475"/>
              <a:gd name="connsiteY2" fmla="*/ 1 h 4814888"/>
              <a:gd name="connsiteX3" fmla="*/ 4816475 w 4816475"/>
              <a:gd name="connsiteY3" fmla="*/ 2407444 h 4814888"/>
              <a:gd name="connsiteX4" fmla="*/ 3612753 w 4816475"/>
              <a:gd name="connsiteY4" fmla="*/ 4814887 h 4814888"/>
              <a:gd name="connsiteX5" fmla="*/ 1203722 w 4816475"/>
              <a:gd name="connsiteY5" fmla="*/ 4814887 h 4814888"/>
              <a:gd name="connsiteX6" fmla="*/ 0 w 4816475"/>
              <a:gd name="connsiteY6" fmla="*/ 2407444 h 4814888"/>
              <a:gd name="connsiteX0" fmla="*/ 0 w 4816475"/>
              <a:gd name="connsiteY0" fmla="*/ 2407443 h 4814886"/>
              <a:gd name="connsiteX1" fmla="*/ 2199402 w 4816475"/>
              <a:gd name="connsiteY1" fmla="*/ 243840 h 4814886"/>
              <a:gd name="connsiteX2" fmla="*/ 3612753 w 4816475"/>
              <a:gd name="connsiteY2" fmla="*/ 0 h 4814886"/>
              <a:gd name="connsiteX3" fmla="*/ 4816475 w 4816475"/>
              <a:gd name="connsiteY3" fmla="*/ 2407443 h 4814886"/>
              <a:gd name="connsiteX4" fmla="*/ 3612753 w 4816475"/>
              <a:gd name="connsiteY4" fmla="*/ 4814886 h 4814886"/>
              <a:gd name="connsiteX5" fmla="*/ 1203722 w 4816475"/>
              <a:gd name="connsiteY5" fmla="*/ 4814886 h 4814886"/>
              <a:gd name="connsiteX6" fmla="*/ 0 w 4816475"/>
              <a:gd name="connsiteY6" fmla="*/ 2407443 h 4814886"/>
              <a:gd name="connsiteX0" fmla="*/ 0 w 4816475"/>
              <a:gd name="connsiteY0" fmla="*/ 2163603 h 4571046"/>
              <a:gd name="connsiteX1" fmla="*/ 2199402 w 4816475"/>
              <a:gd name="connsiteY1" fmla="*/ 0 h 4571046"/>
              <a:gd name="connsiteX2" fmla="*/ 4608433 w 4816475"/>
              <a:gd name="connsiteY2" fmla="*/ 721360 h 4571046"/>
              <a:gd name="connsiteX3" fmla="*/ 4816475 w 4816475"/>
              <a:gd name="connsiteY3" fmla="*/ 2163603 h 4571046"/>
              <a:gd name="connsiteX4" fmla="*/ 3612753 w 4816475"/>
              <a:gd name="connsiteY4" fmla="*/ 4571046 h 4571046"/>
              <a:gd name="connsiteX5" fmla="*/ 1203722 w 4816475"/>
              <a:gd name="connsiteY5" fmla="*/ 4571046 h 4571046"/>
              <a:gd name="connsiteX6" fmla="*/ 0 w 4816475"/>
              <a:gd name="connsiteY6" fmla="*/ 2163603 h 4571046"/>
              <a:gd name="connsiteX0" fmla="*/ 0 w 4958715"/>
              <a:gd name="connsiteY0" fmla="*/ 2163603 h 4571046"/>
              <a:gd name="connsiteX1" fmla="*/ 2199402 w 4958715"/>
              <a:gd name="connsiteY1" fmla="*/ 0 h 4571046"/>
              <a:gd name="connsiteX2" fmla="*/ 4608433 w 4958715"/>
              <a:gd name="connsiteY2" fmla="*/ 721360 h 4571046"/>
              <a:gd name="connsiteX3" fmla="*/ 4958715 w 4958715"/>
              <a:gd name="connsiteY3" fmla="*/ 2803683 h 4571046"/>
              <a:gd name="connsiteX4" fmla="*/ 3612753 w 4958715"/>
              <a:gd name="connsiteY4" fmla="*/ 4571046 h 4571046"/>
              <a:gd name="connsiteX5" fmla="*/ 1203722 w 4958715"/>
              <a:gd name="connsiteY5" fmla="*/ 4571046 h 4571046"/>
              <a:gd name="connsiteX6" fmla="*/ 0 w 4958715"/>
              <a:gd name="connsiteY6" fmla="*/ 2163603 h 4571046"/>
              <a:gd name="connsiteX0" fmla="*/ 0 w 4916043"/>
              <a:gd name="connsiteY0" fmla="*/ 1273587 h 4571046"/>
              <a:gd name="connsiteX1" fmla="*/ 2156730 w 4916043"/>
              <a:gd name="connsiteY1" fmla="*/ 0 h 4571046"/>
              <a:gd name="connsiteX2" fmla="*/ 4565761 w 4916043"/>
              <a:gd name="connsiteY2" fmla="*/ 721360 h 4571046"/>
              <a:gd name="connsiteX3" fmla="*/ 4916043 w 4916043"/>
              <a:gd name="connsiteY3" fmla="*/ 2803683 h 4571046"/>
              <a:gd name="connsiteX4" fmla="*/ 3570081 w 4916043"/>
              <a:gd name="connsiteY4" fmla="*/ 4571046 h 4571046"/>
              <a:gd name="connsiteX5" fmla="*/ 1161050 w 4916043"/>
              <a:gd name="connsiteY5" fmla="*/ 4571046 h 4571046"/>
              <a:gd name="connsiteX6" fmla="*/ 0 w 4916043"/>
              <a:gd name="connsiteY6" fmla="*/ 1273587 h 4571046"/>
              <a:gd name="connsiteX0" fmla="*/ 0 w 4916043"/>
              <a:gd name="connsiteY0" fmla="*/ 1273587 h 4571046"/>
              <a:gd name="connsiteX1" fmla="*/ 2156730 w 4916043"/>
              <a:gd name="connsiteY1" fmla="*/ 0 h 4571046"/>
              <a:gd name="connsiteX2" fmla="*/ 4565761 w 4916043"/>
              <a:gd name="connsiteY2" fmla="*/ 721360 h 4571046"/>
              <a:gd name="connsiteX3" fmla="*/ 4916043 w 4916043"/>
              <a:gd name="connsiteY3" fmla="*/ 2803683 h 4571046"/>
              <a:gd name="connsiteX4" fmla="*/ 3570081 w 4916043"/>
              <a:gd name="connsiteY4" fmla="*/ 4571046 h 4571046"/>
              <a:gd name="connsiteX5" fmla="*/ 21098 w 4916043"/>
              <a:gd name="connsiteY5" fmla="*/ 3815142 h 4571046"/>
              <a:gd name="connsiteX6" fmla="*/ 0 w 4916043"/>
              <a:gd name="connsiteY6" fmla="*/ 1273587 h 4571046"/>
              <a:gd name="connsiteX0" fmla="*/ 0 w 4916043"/>
              <a:gd name="connsiteY0" fmla="*/ 1273587 h 5066346"/>
              <a:gd name="connsiteX1" fmla="*/ 2156730 w 4916043"/>
              <a:gd name="connsiteY1" fmla="*/ 0 h 5066346"/>
              <a:gd name="connsiteX2" fmla="*/ 4565761 w 4916043"/>
              <a:gd name="connsiteY2" fmla="*/ 721360 h 5066346"/>
              <a:gd name="connsiteX3" fmla="*/ 4916043 w 4916043"/>
              <a:gd name="connsiteY3" fmla="*/ 2803683 h 5066346"/>
              <a:gd name="connsiteX4" fmla="*/ 2236581 w 4916043"/>
              <a:gd name="connsiteY4" fmla="*/ 5066346 h 5066346"/>
              <a:gd name="connsiteX5" fmla="*/ 21098 w 4916043"/>
              <a:gd name="connsiteY5" fmla="*/ 3815142 h 5066346"/>
              <a:gd name="connsiteX6" fmla="*/ 0 w 4916043"/>
              <a:gd name="connsiteY6" fmla="*/ 1273587 h 5066346"/>
              <a:gd name="connsiteX0" fmla="*/ 0 w 4565761"/>
              <a:gd name="connsiteY0" fmla="*/ 1273587 h 5066346"/>
              <a:gd name="connsiteX1" fmla="*/ 2156730 w 4565761"/>
              <a:gd name="connsiteY1" fmla="*/ 0 h 5066346"/>
              <a:gd name="connsiteX2" fmla="*/ 4565761 w 4565761"/>
              <a:gd name="connsiteY2" fmla="*/ 721360 h 5066346"/>
              <a:gd name="connsiteX3" fmla="*/ 4405503 w 4565761"/>
              <a:gd name="connsiteY3" fmla="*/ 3801903 h 5066346"/>
              <a:gd name="connsiteX4" fmla="*/ 2236581 w 4565761"/>
              <a:gd name="connsiteY4" fmla="*/ 5066346 h 5066346"/>
              <a:gd name="connsiteX5" fmla="*/ 21098 w 4565761"/>
              <a:gd name="connsiteY5" fmla="*/ 3815142 h 5066346"/>
              <a:gd name="connsiteX6" fmla="*/ 0 w 4565761"/>
              <a:gd name="connsiteY6" fmla="*/ 1273587 h 5066346"/>
              <a:gd name="connsiteX0" fmla="*/ 0 w 4405503"/>
              <a:gd name="connsiteY0" fmla="*/ 1273587 h 5066346"/>
              <a:gd name="connsiteX1" fmla="*/ 2156730 w 4405503"/>
              <a:gd name="connsiteY1" fmla="*/ 0 h 5066346"/>
              <a:gd name="connsiteX2" fmla="*/ 4398121 w 4405503"/>
              <a:gd name="connsiteY2" fmla="*/ 1277620 h 5066346"/>
              <a:gd name="connsiteX3" fmla="*/ 4405503 w 4405503"/>
              <a:gd name="connsiteY3" fmla="*/ 3801903 h 5066346"/>
              <a:gd name="connsiteX4" fmla="*/ 2236581 w 4405503"/>
              <a:gd name="connsiteY4" fmla="*/ 5066346 h 5066346"/>
              <a:gd name="connsiteX5" fmla="*/ 21098 w 4405503"/>
              <a:gd name="connsiteY5" fmla="*/ 3815142 h 5066346"/>
              <a:gd name="connsiteX6" fmla="*/ 0 w 4405503"/>
              <a:gd name="connsiteY6" fmla="*/ 1273587 h 5066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405503" h="5066346">
                <a:moveTo>
                  <a:pt x="0" y="1273587"/>
                </a:moveTo>
                <a:lnTo>
                  <a:pt x="2156730" y="0"/>
                </a:lnTo>
                <a:lnTo>
                  <a:pt x="4398121" y="1277620"/>
                </a:lnTo>
                <a:cubicBezTo>
                  <a:pt x="4400582" y="2119048"/>
                  <a:pt x="4403042" y="2960475"/>
                  <a:pt x="4405503" y="3801903"/>
                </a:cubicBezTo>
                <a:lnTo>
                  <a:pt x="2236581" y="5066346"/>
                </a:lnTo>
                <a:lnTo>
                  <a:pt x="21098" y="3815142"/>
                </a:lnTo>
                <a:lnTo>
                  <a:pt x="0" y="127358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6"/>
                </a:solidFill>
              </a:defRPr>
            </a:lvl1pPr>
          </a:lstStyle>
          <a:p>
            <a:r>
              <a:rPr lang="en-GB" altLang="zh-CN"/>
              <a:t>Click icon to add picture</a:t>
            </a:r>
            <a:endParaRPr lang="zh-CN" altLang="en-US"/>
          </a:p>
        </p:txBody>
      </p:sp>
      <p:sp>
        <p:nvSpPr>
          <p:cNvPr id="45" name="Content placeholder 47">
            <a:extLst>
              <a:ext uri="{FF2B5EF4-FFF2-40B4-BE49-F238E27FC236}">
                <a16:creationId xmlns:a16="http://schemas.microsoft.com/office/drawing/2014/main" id="{13AE459B-26D7-43FC-BE0B-EF7B119D7D40}"/>
              </a:ext>
            </a:extLst>
          </p:cNvPr>
          <p:cNvSpPr>
            <a:spLocks noGrp="1"/>
          </p:cNvSpPr>
          <p:nvPr>
            <p:ph type="pic" sz="quarter" idx="61"/>
          </p:nvPr>
        </p:nvSpPr>
        <p:spPr>
          <a:xfrm>
            <a:off x="9487536" y="2073439"/>
            <a:ext cx="1621032" cy="1841551"/>
          </a:xfrm>
          <a:custGeom>
            <a:avLst/>
            <a:gdLst>
              <a:gd name="connsiteX0" fmla="*/ 0 w 4816475"/>
              <a:gd name="connsiteY0" fmla="*/ 2407444 h 4814888"/>
              <a:gd name="connsiteX1" fmla="*/ 1203722 w 4816475"/>
              <a:gd name="connsiteY1" fmla="*/ 1 h 4814888"/>
              <a:gd name="connsiteX2" fmla="*/ 3612753 w 4816475"/>
              <a:gd name="connsiteY2" fmla="*/ 1 h 4814888"/>
              <a:gd name="connsiteX3" fmla="*/ 4816475 w 4816475"/>
              <a:gd name="connsiteY3" fmla="*/ 2407444 h 4814888"/>
              <a:gd name="connsiteX4" fmla="*/ 3612753 w 4816475"/>
              <a:gd name="connsiteY4" fmla="*/ 4814887 h 4814888"/>
              <a:gd name="connsiteX5" fmla="*/ 1203722 w 4816475"/>
              <a:gd name="connsiteY5" fmla="*/ 4814887 h 4814888"/>
              <a:gd name="connsiteX6" fmla="*/ 0 w 4816475"/>
              <a:gd name="connsiteY6" fmla="*/ 2407444 h 4814888"/>
              <a:gd name="connsiteX0" fmla="*/ 0 w 4816475"/>
              <a:gd name="connsiteY0" fmla="*/ 2407443 h 4814886"/>
              <a:gd name="connsiteX1" fmla="*/ 2199402 w 4816475"/>
              <a:gd name="connsiteY1" fmla="*/ 243840 h 4814886"/>
              <a:gd name="connsiteX2" fmla="*/ 3612753 w 4816475"/>
              <a:gd name="connsiteY2" fmla="*/ 0 h 4814886"/>
              <a:gd name="connsiteX3" fmla="*/ 4816475 w 4816475"/>
              <a:gd name="connsiteY3" fmla="*/ 2407443 h 4814886"/>
              <a:gd name="connsiteX4" fmla="*/ 3612753 w 4816475"/>
              <a:gd name="connsiteY4" fmla="*/ 4814886 h 4814886"/>
              <a:gd name="connsiteX5" fmla="*/ 1203722 w 4816475"/>
              <a:gd name="connsiteY5" fmla="*/ 4814886 h 4814886"/>
              <a:gd name="connsiteX6" fmla="*/ 0 w 4816475"/>
              <a:gd name="connsiteY6" fmla="*/ 2407443 h 4814886"/>
              <a:gd name="connsiteX0" fmla="*/ 0 w 4816475"/>
              <a:gd name="connsiteY0" fmla="*/ 2163603 h 4571046"/>
              <a:gd name="connsiteX1" fmla="*/ 2199402 w 4816475"/>
              <a:gd name="connsiteY1" fmla="*/ 0 h 4571046"/>
              <a:gd name="connsiteX2" fmla="*/ 4608433 w 4816475"/>
              <a:gd name="connsiteY2" fmla="*/ 721360 h 4571046"/>
              <a:gd name="connsiteX3" fmla="*/ 4816475 w 4816475"/>
              <a:gd name="connsiteY3" fmla="*/ 2163603 h 4571046"/>
              <a:gd name="connsiteX4" fmla="*/ 3612753 w 4816475"/>
              <a:gd name="connsiteY4" fmla="*/ 4571046 h 4571046"/>
              <a:gd name="connsiteX5" fmla="*/ 1203722 w 4816475"/>
              <a:gd name="connsiteY5" fmla="*/ 4571046 h 4571046"/>
              <a:gd name="connsiteX6" fmla="*/ 0 w 4816475"/>
              <a:gd name="connsiteY6" fmla="*/ 2163603 h 4571046"/>
              <a:gd name="connsiteX0" fmla="*/ 0 w 4958715"/>
              <a:gd name="connsiteY0" fmla="*/ 2163603 h 4571046"/>
              <a:gd name="connsiteX1" fmla="*/ 2199402 w 4958715"/>
              <a:gd name="connsiteY1" fmla="*/ 0 h 4571046"/>
              <a:gd name="connsiteX2" fmla="*/ 4608433 w 4958715"/>
              <a:gd name="connsiteY2" fmla="*/ 721360 h 4571046"/>
              <a:gd name="connsiteX3" fmla="*/ 4958715 w 4958715"/>
              <a:gd name="connsiteY3" fmla="*/ 2803683 h 4571046"/>
              <a:gd name="connsiteX4" fmla="*/ 3612753 w 4958715"/>
              <a:gd name="connsiteY4" fmla="*/ 4571046 h 4571046"/>
              <a:gd name="connsiteX5" fmla="*/ 1203722 w 4958715"/>
              <a:gd name="connsiteY5" fmla="*/ 4571046 h 4571046"/>
              <a:gd name="connsiteX6" fmla="*/ 0 w 4958715"/>
              <a:gd name="connsiteY6" fmla="*/ 2163603 h 4571046"/>
              <a:gd name="connsiteX0" fmla="*/ 0 w 4916043"/>
              <a:gd name="connsiteY0" fmla="*/ 1273587 h 4571046"/>
              <a:gd name="connsiteX1" fmla="*/ 2156730 w 4916043"/>
              <a:gd name="connsiteY1" fmla="*/ 0 h 4571046"/>
              <a:gd name="connsiteX2" fmla="*/ 4565761 w 4916043"/>
              <a:gd name="connsiteY2" fmla="*/ 721360 h 4571046"/>
              <a:gd name="connsiteX3" fmla="*/ 4916043 w 4916043"/>
              <a:gd name="connsiteY3" fmla="*/ 2803683 h 4571046"/>
              <a:gd name="connsiteX4" fmla="*/ 3570081 w 4916043"/>
              <a:gd name="connsiteY4" fmla="*/ 4571046 h 4571046"/>
              <a:gd name="connsiteX5" fmla="*/ 1161050 w 4916043"/>
              <a:gd name="connsiteY5" fmla="*/ 4571046 h 4571046"/>
              <a:gd name="connsiteX6" fmla="*/ 0 w 4916043"/>
              <a:gd name="connsiteY6" fmla="*/ 1273587 h 4571046"/>
              <a:gd name="connsiteX0" fmla="*/ 0 w 4916043"/>
              <a:gd name="connsiteY0" fmla="*/ 1273587 h 4571046"/>
              <a:gd name="connsiteX1" fmla="*/ 2156730 w 4916043"/>
              <a:gd name="connsiteY1" fmla="*/ 0 h 4571046"/>
              <a:gd name="connsiteX2" fmla="*/ 4565761 w 4916043"/>
              <a:gd name="connsiteY2" fmla="*/ 721360 h 4571046"/>
              <a:gd name="connsiteX3" fmla="*/ 4916043 w 4916043"/>
              <a:gd name="connsiteY3" fmla="*/ 2803683 h 4571046"/>
              <a:gd name="connsiteX4" fmla="*/ 3570081 w 4916043"/>
              <a:gd name="connsiteY4" fmla="*/ 4571046 h 4571046"/>
              <a:gd name="connsiteX5" fmla="*/ 21098 w 4916043"/>
              <a:gd name="connsiteY5" fmla="*/ 3815142 h 4571046"/>
              <a:gd name="connsiteX6" fmla="*/ 0 w 4916043"/>
              <a:gd name="connsiteY6" fmla="*/ 1273587 h 4571046"/>
              <a:gd name="connsiteX0" fmla="*/ 0 w 4916043"/>
              <a:gd name="connsiteY0" fmla="*/ 1273587 h 5066346"/>
              <a:gd name="connsiteX1" fmla="*/ 2156730 w 4916043"/>
              <a:gd name="connsiteY1" fmla="*/ 0 h 5066346"/>
              <a:gd name="connsiteX2" fmla="*/ 4565761 w 4916043"/>
              <a:gd name="connsiteY2" fmla="*/ 721360 h 5066346"/>
              <a:gd name="connsiteX3" fmla="*/ 4916043 w 4916043"/>
              <a:gd name="connsiteY3" fmla="*/ 2803683 h 5066346"/>
              <a:gd name="connsiteX4" fmla="*/ 2236581 w 4916043"/>
              <a:gd name="connsiteY4" fmla="*/ 5066346 h 5066346"/>
              <a:gd name="connsiteX5" fmla="*/ 21098 w 4916043"/>
              <a:gd name="connsiteY5" fmla="*/ 3815142 h 5066346"/>
              <a:gd name="connsiteX6" fmla="*/ 0 w 4916043"/>
              <a:gd name="connsiteY6" fmla="*/ 1273587 h 5066346"/>
              <a:gd name="connsiteX0" fmla="*/ 0 w 4565761"/>
              <a:gd name="connsiteY0" fmla="*/ 1273587 h 5066346"/>
              <a:gd name="connsiteX1" fmla="*/ 2156730 w 4565761"/>
              <a:gd name="connsiteY1" fmla="*/ 0 h 5066346"/>
              <a:gd name="connsiteX2" fmla="*/ 4565761 w 4565761"/>
              <a:gd name="connsiteY2" fmla="*/ 721360 h 5066346"/>
              <a:gd name="connsiteX3" fmla="*/ 4405503 w 4565761"/>
              <a:gd name="connsiteY3" fmla="*/ 3801903 h 5066346"/>
              <a:gd name="connsiteX4" fmla="*/ 2236581 w 4565761"/>
              <a:gd name="connsiteY4" fmla="*/ 5066346 h 5066346"/>
              <a:gd name="connsiteX5" fmla="*/ 21098 w 4565761"/>
              <a:gd name="connsiteY5" fmla="*/ 3815142 h 5066346"/>
              <a:gd name="connsiteX6" fmla="*/ 0 w 4565761"/>
              <a:gd name="connsiteY6" fmla="*/ 1273587 h 5066346"/>
              <a:gd name="connsiteX0" fmla="*/ 0 w 4405503"/>
              <a:gd name="connsiteY0" fmla="*/ 1273587 h 5066346"/>
              <a:gd name="connsiteX1" fmla="*/ 2156730 w 4405503"/>
              <a:gd name="connsiteY1" fmla="*/ 0 h 5066346"/>
              <a:gd name="connsiteX2" fmla="*/ 4398121 w 4405503"/>
              <a:gd name="connsiteY2" fmla="*/ 1277620 h 5066346"/>
              <a:gd name="connsiteX3" fmla="*/ 4405503 w 4405503"/>
              <a:gd name="connsiteY3" fmla="*/ 3801903 h 5066346"/>
              <a:gd name="connsiteX4" fmla="*/ 2236581 w 4405503"/>
              <a:gd name="connsiteY4" fmla="*/ 5066346 h 5066346"/>
              <a:gd name="connsiteX5" fmla="*/ 21098 w 4405503"/>
              <a:gd name="connsiteY5" fmla="*/ 3815142 h 5066346"/>
              <a:gd name="connsiteX6" fmla="*/ 0 w 4405503"/>
              <a:gd name="connsiteY6" fmla="*/ 1273587 h 5066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405503" h="5066346">
                <a:moveTo>
                  <a:pt x="0" y="1273587"/>
                </a:moveTo>
                <a:lnTo>
                  <a:pt x="2156730" y="0"/>
                </a:lnTo>
                <a:lnTo>
                  <a:pt x="4398121" y="1277620"/>
                </a:lnTo>
                <a:cubicBezTo>
                  <a:pt x="4400582" y="2119048"/>
                  <a:pt x="4403042" y="2960475"/>
                  <a:pt x="4405503" y="3801903"/>
                </a:cubicBezTo>
                <a:lnTo>
                  <a:pt x="2236581" y="5066346"/>
                </a:lnTo>
                <a:lnTo>
                  <a:pt x="21098" y="3815142"/>
                </a:lnTo>
                <a:lnTo>
                  <a:pt x="0" y="127358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6"/>
                </a:solidFill>
              </a:defRPr>
            </a:lvl1pPr>
          </a:lstStyle>
          <a:p>
            <a:r>
              <a:rPr lang="en-GB" altLang="zh-CN"/>
              <a:t>Click icon to add picture</a:t>
            </a:r>
            <a:endParaRPr lang="zh-CN" altLang="en-US"/>
          </a:p>
        </p:txBody>
      </p:sp>
      <p:sp>
        <p:nvSpPr>
          <p:cNvPr id="25" name="Title Placeholder 4">
            <a:extLst>
              <a:ext uri="{FF2B5EF4-FFF2-40B4-BE49-F238E27FC236}">
                <a16:creationId xmlns:a16="http://schemas.microsoft.com/office/drawing/2014/main" id="{C8ECEE37-7B17-4FD7-2612-FBD357E104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839337"/>
            <a:ext cx="10515600" cy="85135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defRPr>
                <a:solidFill>
                  <a:schemeClr val="accent6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331733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Content placeholder 47">
            <a:extLst>
              <a:ext uri="{FF2B5EF4-FFF2-40B4-BE49-F238E27FC236}">
                <a16:creationId xmlns:a16="http://schemas.microsoft.com/office/drawing/2014/main" id="{67FF6BA4-2B1B-4B51-9FE3-A67E3DCC318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38200" y="3265103"/>
            <a:ext cx="1865376" cy="2464293"/>
          </a:xfrm>
          <a:prstGeom prst="rect">
            <a:avLst/>
          </a:prstGeom>
          <a:ln w="19050">
            <a:solidFill>
              <a:schemeClr val="accent3"/>
            </a:solidFill>
          </a:ln>
        </p:spPr>
        <p:txBody>
          <a:bodyPr tIns="219456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accent6"/>
                </a:solidFill>
                <a:latin typeface="+mn-lt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 Master text styles </a:t>
            </a:r>
          </a:p>
        </p:txBody>
      </p:sp>
      <p:sp>
        <p:nvSpPr>
          <p:cNvPr id="30" name="Content placeholder 47">
            <a:extLst>
              <a:ext uri="{FF2B5EF4-FFF2-40B4-BE49-F238E27FC236}">
                <a16:creationId xmlns:a16="http://schemas.microsoft.com/office/drawing/2014/main" id="{88E2377A-ED6B-4D69-A9DC-647CB22A5204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3000303" y="3265103"/>
            <a:ext cx="1867186" cy="2471878"/>
          </a:xfrm>
          <a:prstGeom prst="rect">
            <a:avLst/>
          </a:prstGeom>
          <a:ln w="19050">
            <a:solidFill>
              <a:schemeClr val="accent3"/>
            </a:solidFill>
          </a:ln>
        </p:spPr>
        <p:txBody>
          <a:bodyPr tIns="219456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accent6"/>
                </a:solidFill>
                <a:latin typeface="+mn-lt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 Master text styles </a:t>
            </a:r>
          </a:p>
        </p:txBody>
      </p:sp>
      <p:sp>
        <p:nvSpPr>
          <p:cNvPr id="31" name="Content placeholder 47">
            <a:extLst>
              <a:ext uri="{FF2B5EF4-FFF2-40B4-BE49-F238E27FC236}">
                <a16:creationId xmlns:a16="http://schemas.microsoft.com/office/drawing/2014/main" id="{ECC27D7D-FA65-E93F-3C7E-AADBF7E0CC2C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5164216" y="3265103"/>
            <a:ext cx="1865376" cy="2464293"/>
          </a:xfrm>
          <a:prstGeom prst="rect">
            <a:avLst/>
          </a:prstGeom>
          <a:ln w="19050">
            <a:solidFill>
              <a:schemeClr val="accent3"/>
            </a:solidFill>
          </a:ln>
        </p:spPr>
        <p:txBody>
          <a:bodyPr tIns="219456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accent6"/>
                </a:solidFill>
                <a:latin typeface="+mn-lt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 Master text styles </a:t>
            </a:r>
          </a:p>
        </p:txBody>
      </p:sp>
      <p:sp>
        <p:nvSpPr>
          <p:cNvPr id="33" name="Content placeholder 47">
            <a:extLst>
              <a:ext uri="{FF2B5EF4-FFF2-40B4-BE49-F238E27FC236}">
                <a16:creationId xmlns:a16="http://schemas.microsoft.com/office/drawing/2014/main" id="{DF5280E4-E86B-9E17-04A1-072A8148C3BD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326319" y="3265103"/>
            <a:ext cx="1865376" cy="2464293"/>
          </a:xfrm>
          <a:prstGeom prst="rect">
            <a:avLst/>
          </a:prstGeom>
          <a:ln w="19050">
            <a:solidFill>
              <a:schemeClr val="accent3"/>
            </a:solidFill>
          </a:ln>
        </p:spPr>
        <p:txBody>
          <a:bodyPr tIns="219456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accent6"/>
                </a:solidFill>
                <a:latin typeface="+mn-lt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 Master text styles </a:t>
            </a:r>
          </a:p>
        </p:txBody>
      </p:sp>
      <p:sp>
        <p:nvSpPr>
          <p:cNvPr id="37" name="Content placeholder 47">
            <a:extLst>
              <a:ext uri="{FF2B5EF4-FFF2-40B4-BE49-F238E27FC236}">
                <a16:creationId xmlns:a16="http://schemas.microsoft.com/office/drawing/2014/main" id="{42F4F0D3-AF64-7F92-FF1C-F5D1DC62A388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9488424" y="3265103"/>
            <a:ext cx="1865376" cy="2464293"/>
          </a:xfrm>
          <a:prstGeom prst="rect">
            <a:avLst/>
          </a:prstGeom>
          <a:ln w="19050">
            <a:solidFill>
              <a:schemeClr val="accent3"/>
            </a:solidFill>
          </a:ln>
        </p:spPr>
        <p:txBody>
          <a:bodyPr tIns="219456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accent6"/>
                </a:solidFill>
                <a:latin typeface="+mn-lt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 Master text styles </a:t>
            </a:r>
          </a:p>
        </p:txBody>
      </p:sp>
      <p:sp>
        <p:nvSpPr>
          <p:cNvPr id="27" name="Content placeholder 47">
            <a:extLst>
              <a:ext uri="{FF2B5EF4-FFF2-40B4-BE49-F238E27FC236}">
                <a16:creationId xmlns:a16="http://schemas.microsoft.com/office/drawing/2014/main" id="{43D089D6-48B5-43AB-A887-EEF910BA916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38200" y="2402423"/>
            <a:ext cx="1865376" cy="866219"/>
          </a:xfrm>
          <a:prstGeom prst="rect">
            <a:avLst/>
          </a:prstGeom>
          <a:ln w="19050">
            <a:solidFill>
              <a:schemeClr val="accent3"/>
            </a:solidFill>
          </a:ln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1800" b="1" i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altLang="zh-CN" dirty="0"/>
              <a:t>Click to edit Master title style</a:t>
            </a:r>
            <a:endParaRPr lang="zh-CN" altLang="en-US" dirty="0"/>
          </a:p>
        </p:txBody>
      </p:sp>
      <p:sp>
        <p:nvSpPr>
          <p:cNvPr id="24" name="Title Placeholder 4">
            <a:extLst>
              <a:ext uri="{FF2B5EF4-FFF2-40B4-BE49-F238E27FC236}">
                <a16:creationId xmlns:a16="http://schemas.microsoft.com/office/drawing/2014/main" id="{69ABDED2-7EB3-3ABE-90D0-E6C00F806D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824469"/>
            <a:ext cx="10515600" cy="86621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defRPr>
                <a:solidFill>
                  <a:schemeClr val="accent6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25" name="Content placeholder 47">
            <a:extLst>
              <a:ext uri="{FF2B5EF4-FFF2-40B4-BE49-F238E27FC236}">
                <a16:creationId xmlns:a16="http://schemas.microsoft.com/office/drawing/2014/main" id="{476A31DC-7395-007C-8BA1-C38E5B289CF5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3000756" y="2402423"/>
            <a:ext cx="1865376" cy="866219"/>
          </a:xfrm>
          <a:prstGeom prst="rect">
            <a:avLst/>
          </a:prstGeom>
          <a:ln w="19050">
            <a:solidFill>
              <a:schemeClr val="accent3"/>
            </a:solidFill>
          </a:ln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1800" b="1" i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altLang="zh-CN" dirty="0"/>
              <a:t>Click to edit Master title style</a:t>
            </a:r>
            <a:endParaRPr lang="zh-CN" altLang="en-US" dirty="0"/>
          </a:p>
        </p:txBody>
      </p:sp>
      <p:sp>
        <p:nvSpPr>
          <p:cNvPr id="26" name="Content placeholder 47">
            <a:extLst>
              <a:ext uri="{FF2B5EF4-FFF2-40B4-BE49-F238E27FC236}">
                <a16:creationId xmlns:a16="http://schemas.microsoft.com/office/drawing/2014/main" id="{35CE0786-D87B-DD89-C418-C53C1B7E610B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5163312" y="2402423"/>
            <a:ext cx="1865376" cy="866219"/>
          </a:xfrm>
          <a:prstGeom prst="rect">
            <a:avLst/>
          </a:prstGeom>
          <a:ln w="19050">
            <a:solidFill>
              <a:schemeClr val="accent3"/>
            </a:solidFill>
          </a:ln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1800" b="1" i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altLang="zh-CN" dirty="0"/>
              <a:t>Click to edit Master title style</a:t>
            </a:r>
            <a:endParaRPr lang="zh-CN" altLang="en-US" dirty="0"/>
          </a:p>
        </p:txBody>
      </p:sp>
      <p:sp>
        <p:nvSpPr>
          <p:cNvPr id="28" name="Content placeholder 47">
            <a:extLst>
              <a:ext uri="{FF2B5EF4-FFF2-40B4-BE49-F238E27FC236}">
                <a16:creationId xmlns:a16="http://schemas.microsoft.com/office/drawing/2014/main" id="{7C7F2E6C-1DCD-3C6A-4830-5BF230A3AAB2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325868" y="2402423"/>
            <a:ext cx="1865376" cy="866219"/>
          </a:xfrm>
          <a:prstGeom prst="rect">
            <a:avLst/>
          </a:prstGeom>
          <a:ln w="19050">
            <a:solidFill>
              <a:schemeClr val="accent3"/>
            </a:solidFill>
          </a:ln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1800" b="1" i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altLang="zh-CN" dirty="0"/>
              <a:t>Click to edit Master title style</a:t>
            </a:r>
            <a:endParaRPr lang="zh-CN" altLang="en-US" dirty="0"/>
          </a:p>
        </p:txBody>
      </p:sp>
      <p:sp>
        <p:nvSpPr>
          <p:cNvPr id="29" name="Content placeholder 47">
            <a:extLst>
              <a:ext uri="{FF2B5EF4-FFF2-40B4-BE49-F238E27FC236}">
                <a16:creationId xmlns:a16="http://schemas.microsoft.com/office/drawing/2014/main" id="{56A87F6E-D6C5-8903-BC20-313810046034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9488424" y="2402423"/>
            <a:ext cx="1865376" cy="866219"/>
          </a:xfrm>
          <a:prstGeom prst="rect">
            <a:avLst/>
          </a:prstGeom>
          <a:ln w="19050">
            <a:solidFill>
              <a:schemeClr val="accent3"/>
            </a:solidFill>
          </a:ln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1800" b="1" i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altLang="zh-CN" dirty="0"/>
              <a:t>Click to edit Master title style</a:t>
            </a:r>
            <a:endParaRPr lang="zh-CN" altLang="en-US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7C805DA-AD5A-9C79-6CAB-530F70E7EFC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45392" y="2401905"/>
            <a:ext cx="10515600" cy="859536"/>
          </a:xfrm>
          <a:prstGeom prst="rect">
            <a:avLst/>
          </a:prstGeom>
          <a:noFill/>
          <a:ln w="28575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4985920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Freeform: Shape 25">
            <a:extLst>
              <a:ext uri="{FF2B5EF4-FFF2-40B4-BE49-F238E27FC236}">
                <a16:creationId xmlns:a16="http://schemas.microsoft.com/office/drawing/2014/main" id="{D61EE2E4-C5DD-4944-B70C-8F0A3F741A59}"/>
              </a:ext>
            </a:extLst>
          </p:cNvPr>
          <p:cNvSpPr/>
          <p:nvPr userDrawn="1"/>
        </p:nvSpPr>
        <p:spPr>
          <a:xfrm>
            <a:off x="1295508" y="3039919"/>
            <a:ext cx="2375255" cy="2734936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  <a:gd name="connsiteX0" fmla="*/ 2187388 w 4387647"/>
              <a:gd name="connsiteY0" fmla="*/ 0 h 5032188"/>
              <a:gd name="connsiteX1" fmla="*/ 4386729 w 4387647"/>
              <a:gd name="connsiteY1" fmla="*/ 1261035 h 5032188"/>
              <a:gd name="connsiteX2" fmla="*/ 4384192 w 4387647"/>
              <a:gd name="connsiteY2" fmla="*/ 3783287 h 5032188"/>
              <a:gd name="connsiteX3" fmla="*/ 2193365 w 4387647"/>
              <a:gd name="connsiteY3" fmla="*/ 5032188 h 5032188"/>
              <a:gd name="connsiteX4" fmla="*/ 0 w 4387647"/>
              <a:gd name="connsiteY4" fmla="*/ 3783106 h 5032188"/>
              <a:gd name="connsiteX5" fmla="*/ 0 w 4387647"/>
              <a:gd name="connsiteY5" fmla="*/ 1267012 h 5032188"/>
              <a:gd name="connsiteX6" fmla="*/ 2187388 w 4387647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87647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80208" y="2940604"/>
                  <a:pt x="4384192" y="3783287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noFill/>
          <a:ln w="19050" cap="flat" cmpd="sng" algn="ctr">
            <a:solidFill>
              <a:schemeClr val="accent3"/>
            </a:solidFill>
            <a:prstDash val="solid"/>
            <a:miter lim="800000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Posterama Text SemiBold"/>
              <a:ea typeface="+mn-ea"/>
              <a:cs typeface="+mn-cs"/>
            </a:endParaRPr>
          </a:p>
        </p:txBody>
      </p:sp>
      <p:sp>
        <p:nvSpPr>
          <p:cNvPr id="67" name="Freeform: Shape 26">
            <a:extLst>
              <a:ext uri="{FF2B5EF4-FFF2-40B4-BE49-F238E27FC236}">
                <a16:creationId xmlns:a16="http://schemas.microsoft.com/office/drawing/2014/main" id="{91FA36A8-94E8-4069-B957-F7145D77BD5F}"/>
              </a:ext>
            </a:extLst>
          </p:cNvPr>
          <p:cNvSpPr/>
          <p:nvPr userDrawn="1"/>
        </p:nvSpPr>
        <p:spPr>
          <a:xfrm>
            <a:off x="3681780" y="1677046"/>
            <a:ext cx="2375255" cy="2734936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  <a:gd name="connsiteX0" fmla="*/ 2187388 w 4387647"/>
              <a:gd name="connsiteY0" fmla="*/ 0 h 5032188"/>
              <a:gd name="connsiteX1" fmla="*/ 4386729 w 4387647"/>
              <a:gd name="connsiteY1" fmla="*/ 1261035 h 5032188"/>
              <a:gd name="connsiteX2" fmla="*/ 4384192 w 4387647"/>
              <a:gd name="connsiteY2" fmla="*/ 3783287 h 5032188"/>
              <a:gd name="connsiteX3" fmla="*/ 2193365 w 4387647"/>
              <a:gd name="connsiteY3" fmla="*/ 5032188 h 5032188"/>
              <a:gd name="connsiteX4" fmla="*/ 0 w 4387647"/>
              <a:gd name="connsiteY4" fmla="*/ 3783106 h 5032188"/>
              <a:gd name="connsiteX5" fmla="*/ 0 w 4387647"/>
              <a:gd name="connsiteY5" fmla="*/ 1267012 h 5032188"/>
              <a:gd name="connsiteX6" fmla="*/ 2187388 w 4387647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87647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80208" y="2940604"/>
                  <a:pt x="4384192" y="3783287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noFill/>
          <a:ln w="19050" cap="flat" cmpd="sng" algn="ctr">
            <a:solidFill>
              <a:schemeClr val="accent3"/>
            </a:solidFill>
            <a:prstDash val="solid"/>
            <a:miter lim="800000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Posterama Text SemiBold"/>
              <a:ea typeface="+mn-ea"/>
              <a:cs typeface="+mn-cs"/>
            </a:endParaRPr>
          </a:p>
        </p:txBody>
      </p:sp>
      <p:sp>
        <p:nvSpPr>
          <p:cNvPr id="68" name="Freeform: Shape 27">
            <a:extLst>
              <a:ext uri="{FF2B5EF4-FFF2-40B4-BE49-F238E27FC236}">
                <a16:creationId xmlns:a16="http://schemas.microsoft.com/office/drawing/2014/main" id="{7D38D67C-B6B8-4EB2-BC07-4A8128F44D16}"/>
              </a:ext>
            </a:extLst>
          </p:cNvPr>
          <p:cNvSpPr/>
          <p:nvPr userDrawn="1"/>
        </p:nvSpPr>
        <p:spPr>
          <a:xfrm>
            <a:off x="4865676" y="3722308"/>
            <a:ext cx="2375255" cy="2734936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  <a:gd name="connsiteX0" fmla="*/ 2187388 w 4387647"/>
              <a:gd name="connsiteY0" fmla="*/ 0 h 5032188"/>
              <a:gd name="connsiteX1" fmla="*/ 4386729 w 4387647"/>
              <a:gd name="connsiteY1" fmla="*/ 1261035 h 5032188"/>
              <a:gd name="connsiteX2" fmla="*/ 4384192 w 4387647"/>
              <a:gd name="connsiteY2" fmla="*/ 3783287 h 5032188"/>
              <a:gd name="connsiteX3" fmla="*/ 2193365 w 4387647"/>
              <a:gd name="connsiteY3" fmla="*/ 5032188 h 5032188"/>
              <a:gd name="connsiteX4" fmla="*/ 0 w 4387647"/>
              <a:gd name="connsiteY4" fmla="*/ 3783106 h 5032188"/>
              <a:gd name="connsiteX5" fmla="*/ 0 w 4387647"/>
              <a:gd name="connsiteY5" fmla="*/ 1267012 h 5032188"/>
              <a:gd name="connsiteX6" fmla="*/ 2187388 w 4387647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87647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80208" y="2940604"/>
                  <a:pt x="4384192" y="3783287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noFill/>
          <a:ln w="19050" cap="flat" cmpd="sng" algn="ctr">
            <a:solidFill>
              <a:schemeClr val="accent3"/>
            </a:solidFill>
            <a:prstDash val="solid"/>
            <a:miter lim="800000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Posterama Text SemiBold"/>
              <a:ea typeface="+mn-ea"/>
              <a:cs typeface="+mn-cs"/>
            </a:endParaRPr>
          </a:p>
        </p:txBody>
      </p:sp>
      <p:sp>
        <p:nvSpPr>
          <p:cNvPr id="69" name="Freeform: Shape 28">
            <a:extLst>
              <a:ext uri="{FF2B5EF4-FFF2-40B4-BE49-F238E27FC236}">
                <a16:creationId xmlns:a16="http://schemas.microsoft.com/office/drawing/2014/main" id="{6B2E4C8C-D96E-4A66-A3D2-3580DACCF801}"/>
              </a:ext>
            </a:extLst>
          </p:cNvPr>
          <p:cNvSpPr/>
          <p:nvPr userDrawn="1"/>
        </p:nvSpPr>
        <p:spPr>
          <a:xfrm>
            <a:off x="7236143" y="3725411"/>
            <a:ext cx="2375255" cy="2734936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  <a:gd name="connsiteX0" fmla="*/ 2187388 w 4387647"/>
              <a:gd name="connsiteY0" fmla="*/ 0 h 5032188"/>
              <a:gd name="connsiteX1" fmla="*/ 4386729 w 4387647"/>
              <a:gd name="connsiteY1" fmla="*/ 1261035 h 5032188"/>
              <a:gd name="connsiteX2" fmla="*/ 4384192 w 4387647"/>
              <a:gd name="connsiteY2" fmla="*/ 3783287 h 5032188"/>
              <a:gd name="connsiteX3" fmla="*/ 2193365 w 4387647"/>
              <a:gd name="connsiteY3" fmla="*/ 5032188 h 5032188"/>
              <a:gd name="connsiteX4" fmla="*/ 0 w 4387647"/>
              <a:gd name="connsiteY4" fmla="*/ 3783106 h 5032188"/>
              <a:gd name="connsiteX5" fmla="*/ 0 w 4387647"/>
              <a:gd name="connsiteY5" fmla="*/ 1267012 h 5032188"/>
              <a:gd name="connsiteX6" fmla="*/ 2187388 w 4387647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87647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80208" y="2940604"/>
                  <a:pt x="4384192" y="3783287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noFill/>
          <a:ln w="19050" cap="flat" cmpd="sng" algn="ctr">
            <a:solidFill>
              <a:schemeClr val="accent3"/>
            </a:solidFill>
            <a:prstDash val="solid"/>
            <a:miter lim="800000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Posterama Text SemiBold"/>
              <a:ea typeface="+mn-ea"/>
              <a:cs typeface="+mn-cs"/>
            </a:endParaRPr>
          </a:p>
        </p:txBody>
      </p:sp>
      <p:sp>
        <p:nvSpPr>
          <p:cNvPr id="70" name="Freeform: Shape 29">
            <a:extLst>
              <a:ext uri="{FF2B5EF4-FFF2-40B4-BE49-F238E27FC236}">
                <a16:creationId xmlns:a16="http://schemas.microsoft.com/office/drawing/2014/main" id="{74E0B8B0-45C7-4733-BBDC-B82F9307E431}"/>
              </a:ext>
            </a:extLst>
          </p:cNvPr>
          <p:cNvSpPr/>
          <p:nvPr userDrawn="1"/>
        </p:nvSpPr>
        <p:spPr>
          <a:xfrm>
            <a:off x="8412154" y="1667521"/>
            <a:ext cx="2375255" cy="2734936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  <a:gd name="connsiteX0" fmla="*/ 2187388 w 4387647"/>
              <a:gd name="connsiteY0" fmla="*/ 0 h 5032188"/>
              <a:gd name="connsiteX1" fmla="*/ 4386729 w 4387647"/>
              <a:gd name="connsiteY1" fmla="*/ 1261035 h 5032188"/>
              <a:gd name="connsiteX2" fmla="*/ 4384192 w 4387647"/>
              <a:gd name="connsiteY2" fmla="*/ 3783287 h 5032188"/>
              <a:gd name="connsiteX3" fmla="*/ 2193365 w 4387647"/>
              <a:gd name="connsiteY3" fmla="*/ 5032188 h 5032188"/>
              <a:gd name="connsiteX4" fmla="*/ 0 w 4387647"/>
              <a:gd name="connsiteY4" fmla="*/ 3783106 h 5032188"/>
              <a:gd name="connsiteX5" fmla="*/ 0 w 4387647"/>
              <a:gd name="connsiteY5" fmla="*/ 1267012 h 5032188"/>
              <a:gd name="connsiteX6" fmla="*/ 2187388 w 4387647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87647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80208" y="2940604"/>
                  <a:pt x="4384192" y="3783287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noFill/>
          <a:ln w="19050" cap="flat" cmpd="sng" algn="ctr">
            <a:solidFill>
              <a:schemeClr val="accent3"/>
            </a:solidFill>
            <a:prstDash val="solid"/>
            <a:miter lim="800000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Posterama Text SemiBold"/>
              <a:ea typeface="+mn-ea"/>
              <a:cs typeface="+mn-cs"/>
            </a:endParaRPr>
          </a:p>
        </p:txBody>
      </p:sp>
      <p:sp>
        <p:nvSpPr>
          <p:cNvPr id="71" name="Freeform: Shape 30">
            <a:extLst>
              <a:ext uri="{FF2B5EF4-FFF2-40B4-BE49-F238E27FC236}">
                <a16:creationId xmlns:a16="http://schemas.microsoft.com/office/drawing/2014/main" id="{F0BBECC2-631C-4C53-A9E8-6C87D48A3B01}"/>
              </a:ext>
            </a:extLst>
          </p:cNvPr>
          <p:cNvSpPr/>
          <p:nvPr userDrawn="1"/>
        </p:nvSpPr>
        <p:spPr>
          <a:xfrm>
            <a:off x="1273408" y="1672538"/>
            <a:ext cx="7152768" cy="2736950"/>
          </a:xfrm>
          <a:custGeom>
            <a:avLst/>
            <a:gdLst>
              <a:gd name="connsiteX0" fmla="*/ 0 w 5958191"/>
              <a:gd name="connsiteY0" fmla="*/ 2052536 h 2733472"/>
              <a:gd name="connsiteX1" fmla="*/ 1186774 w 5958191"/>
              <a:gd name="connsiteY1" fmla="*/ 1361872 h 2733472"/>
              <a:gd name="connsiteX2" fmla="*/ 2368685 w 5958191"/>
              <a:gd name="connsiteY2" fmla="*/ 2057400 h 2733472"/>
              <a:gd name="connsiteX3" fmla="*/ 2378413 w 5958191"/>
              <a:gd name="connsiteY3" fmla="*/ 690664 h 2733472"/>
              <a:gd name="connsiteX4" fmla="*/ 3570051 w 5958191"/>
              <a:gd name="connsiteY4" fmla="*/ 0 h 2733472"/>
              <a:gd name="connsiteX5" fmla="*/ 4761689 w 5958191"/>
              <a:gd name="connsiteY5" fmla="*/ 680936 h 2733472"/>
              <a:gd name="connsiteX6" fmla="*/ 4756825 w 5958191"/>
              <a:gd name="connsiteY6" fmla="*/ 2052536 h 2733472"/>
              <a:gd name="connsiteX7" fmla="*/ 5958191 w 5958191"/>
              <a:gd name="connsiteY7" fmla="*/ 2733472 h 2733472"/>
              <a:gd name="connsiteX8" fmla="*/ 5958191 w 5958191"/>
              <a:gd name="connsiteY8" fmla="*/ 2733472 h 2733472"/>
              <a:gd name="connsiteX0" fmla="*/ 0 w 7159557"/>
              <a:gd name="connsiteY0" fmla="*/ 2052536 h 2733472"/>
              <a:gd name="connsiteX1" fmla="*/ 1186774 w 7159557"/>
              <a:gd name="connsiteY1" fmla="*/ 1361872 h 2733472"/>
              <a:gd name="connsiteX2" fmla="*/ 2368685 w 7159557"/>
              <a:gd name="connsiteY2" fmla="*/ 2057400 h 2733472"/>
              <a:gd name="connsiteX3" fmla="*/ 2378413 w 7159557"/>
              <a:gd name="connsiteY3" fmla="*/ 690664 h 2733472"/>
              <a:gd name="connsiteX4" fmla="*/ 3570051 w 7159557"/>
              <a:gd name="connsiteY4" fmla="*/ 0 h 2733472"/>
              <a:gd name="connsiteX5" fmla="*/ 4761689 w 7159557"/>
              <a:gd name="connsiteY5" fmla="*/ 680936 h 2733472"/>
              <a:gd name="connsiteX6" fmla="*/ 4756825 w 7159557"/>
              <a:gd name="connsiteY6" fmla="*/ 2052536 h 2733472"/>
              <a:gd name="connsiteX7" fmla="*/ 5958191 w 7159557"/>
              <a:gd name="connsiteY7" fmla="*/ 2733472 h 2733472"/>
              <a:gd name="connsiteX8" fmla="*/ 7159557 w 7159557"/>
              <a:gd name="connsiteY8" fmla="*/ 2067128 h 2733472"/>
              <a:gd name="connsiteX0" fmla="*/ 0 w 7164420"/>
              <a:gd name="connsiteY0" fmla="*/ 2052536 h 2733472"/>
              <a:gd name="connsiteX1" fmla="*/ 1186774 w 7164420"/>
              <a:gd name="connsiteY1" fmla="*/ 1361872 h 2733472"/>
              <a:gd name="connsiteX2" fmla="*/ 2368685 w 7164420"/>
              <a:gd name="connsiteY2" fmla="*/ 2057400 h 2733472"/>
              <a:gd name="connsiteX3" fmla="*/ 2378413 w 7164420"/>
              <a:gd name="connsiteY3" fmla="*/ 690664 h 2733472"/>
              <a:gd name="connsiteX4" fmla="*/ 3570051 w 7164420"/>
              <a:gd name="connsiteY4" fmla="*/ 0 h 2733472"/>
              <a:gd name="connsiteX5" fmla="*/ 4761689 w 7164420"/>
              <a:gd name="connsiteY5" fmla="*/ 680936 h 2733472"/>
              <a:gd name="connsiteX6" fmla="*/ 4756825 w 7164420"/>
              <a:gd name="connsiteY6" fmla="*/ 2052536 h 2733472"/>
              <a:gd name="connsiteX7" fmla="*/ 5958191 w 7164420"/>
              <a:gd name="connsiteY7" fmla="*/ 2733472 h 2733472"/>
              <a:gd name="connsiteX8" fmla="*/ 7164420 w 7164420"/>
              <a:gd name="connsiteY8" fmla="*/ 2062264 h 2733472"/>
              <a:gd name="connsiteX0" fmla="*/ 0 w 7164420"/>
              <a:gd name="connsiteY0" fmla="*/ 2052536 h 2733472"/>
              <a:gd name="connsiteX1" fmla="*/ 1186774 w 7164420"/>
              <a:gd name="connsiteY1" fmla="*/ 1361872 h 2733472"/>
              <a:gd name="connsiteX2" fmla="*/ 2368685 w 7164420"/>
              <a:gd name="connsiteY2" fmla="*/ 2057400 h 2733472"/>
              <a:gd name="connsiteX3" fmla="*/ 2378413 w 7164420"/>
              <a:gd name="connsiteY3" fmla="*/ 690664 h 2733472"/>
              <a:gd name="connsiteX4" fmla="*/ 3570051 w 7164420"/>
              <a:gd name="connsiteY4" fmla="*/ 0 h 2733472"/>
              <a:gd name="connsiteX5" fmla="*/ 4761689 w 7164420"/>
              <a:gd name="connsiteY5" fmla="*/ 680936 h 2733472"/>
              <a:gd name="connsiteX6" fmla="*/ 4756825 w 7164420"/>
              <a:gd name="connsiteY6" fmla="*/ 2052536 h 2733472"/>
              <a:gd name="connsiteX7" fmla="*/ 5958191 w 7164420"/>
              <a:gd name="connsiteY7" fmla="*/ 2733472 h 2733472"/>
              <a:gd name="connsiteX8" fmla="*/ 7164420 w 7164420"/>
              <a:gd name="connsiteY8" fmla="*/ 2057400 h 2733472"/>
              <a:gd name="connsiteX0" fmla="*/ 0 w 7164420"/>
              <a:gd name="connsiteY0" fmla="*/ 2052536 h 2733472"/>
              <a:gd name="connsiteX1" fmla="*/ 1186774 w 7164420"/>
              <a:gd name="connsiteY1" fmla="*/ 1361872 h 2733472"/>
              <a:gd name="connsiteX2" fmla="*/ 2368685 w 7164420"/>
              <a:gd name="connsiteY2" fmla="*/ 2057400 h 2733472"/>
              <a:gd name="connsiteX3" fmla="*/ 2378413 w 7164420"/>
              <a:gd name="connsiteY3" fmla="*/ 690664 h 2733472"/>
              <a:gd name="connsiteX4" fmla="*/ 3570051 w 7164420"/>
              <a:gd name="connsiteY4" fmla="*/ 0 h 2733472"/>
              <a:gd name="connsiteX5" fmla="*/ 4761689 w 7164420"/>
              <a:gd name="connsiteY5" fmla="*/ 680936 h 2733472"/>
              <a:gd name="connsiteX6" fmla="*/ 4756825 w 7164420"/>
              <a:gd name="connsiteY6" fmla="*/ 2052536 h 2733472"/>
              <a:gd name="connsiteX7" fmla="*/ 5958191 w 7164420"/>
              <a:gd name="connsiteY7" fmla="*/ 2733472 h 2733472"/>
              <a:gd name="connsiteX8" fmla="*/ 7164420 w 7164420"/>
              <a:gd name="connsiteY8" fmla="*/ 2052536 h 2733472"/>
              <a:gd name="connsiteX0" fmla="*/ 0 w 7159556"/>
              <a:gd name="connsiteY0" fmla="*/ 2052536 h 2733472"/>
              <a:gd name="connsiteX1" fmla="*/ 1186774 w 7159556"/>
              <a:gd name="connsiteY1" fmla="*/ 1361872 h 2733472"/>
              <a:gd name="connsiteX2" fmla="*/ 2368685 w 7159556"/>
              <a:gd name="connsiteY2" fmla="*/ 2057400 h 2733472"/>
              <a:gd name="connsiteX3" fmla="*/ 2378413 w 7159556"/>
              <a:gd name="connsiteY3" fmla="*/ 690664 h 2733472"/>
              <a:gd name="connsiteX4" fmla="*/ 3570051 w 7159556"/>
              <a:gd name="connsiteY4" fmla="*/ 0 h 2733472"/>
              <a:gd name="connsiteX5" fmla="*/ 4761689 w 7159556"/>
              <a:gd name="connsiteY5" fmla="*/ 680936 h 2733472"/>
              <a:gd name="connsiteX6" fmla="*/ 4756825 w 7159556"/>
              <a:gd name="connsiteY6" fmla="*/ 2052536 h 2733472"/>
              <a:gd name="connsiteX7" fmla="*/ 5958191 w 7159556"/>
              <a:gd name="connsiteY7" fmla="*/ 2733472 h 2733472"/>
              <a:gd name="connsiteX8" fmla="*/ 7159556 w 7159556"/>
              <a:gd name="connsiteY8" fmla="*/ 2052536 h 2733472"/>
              <a:gd name="connsiteX0" fmla="*/ 0 w 7145649"/>
              <a:gd name="connsiteY0" fmla="*/ 2049060 h 2733472"/>
              <a:gd name="connsiteX1" fmla="*/ 1172867 w 7145649"/>
              <a:gd name="connsiteY1" fmla="*/ 1361872 h 2733472"/>
              <a:gd name="connsiteX2" fmla="*/ 2354778 w 7145649"/>
              <a:gd name="connsiteY2" fmla="*/ 2057400 h 2733472"/>
              <a:gd name="connsiteX3" fmla="*/ 2364506 w 7145649"/>
              <a:gd name="connsiteY3" fmla="*/ 690664 h 2733472"/>
              <a:gd name="connsiteX4" fmla="*/ 3556144 w 7145649"/>
              <a:gd name="connsiteY4" fmla="*/ 0 h 2733472"/>
              <a:gd name="connsiteX5" fmla="*/ 4747782 w 7145649"/>
              <a:gd name="connsiteY5" fmla="*/ 680936 h 2733472"/>
              <a:gd name="connsiteX6" fmla="*/ 4742918 w 7145649"/>
              <a:gd name="connsiteY6" fmla="*/ 2052536 h 2733472"/>
              <a:gd name="connsiteX7" fmla="*/ 5944284 w 7145649"/>
              <a:gd name="connsiteY7" fmla="*/ 2733472 h 2733472"/>
              <a:gd name="connsiteX8" fmla="*/ 7145649 w 7145649"/>
              <a:gd name="connsiteY8" fmla="*/ 2052536 h 2733472"/>
              <a:gd name="connsiteX0" fmla="*/ 0 w 7156079"/>
              <a:gd name="connsiteY0" fmla="*/ 2035152 h 2733472"/>
              <a:gd name="connsiteX1" fmla="*/ 1183297 w 7156079"/>
              <a:gd name="connsiteY1" fmla="*/ 1361872 h 2733472"/>
              <a:gd name="connsiteX2" fmla="*/ 2365208 w 7156079"/>
              <a:gd name="connsiteY2" fmla="*/ 2057400 h 2733472"/>
              <a:gd name="connsiteX3" fmla="*/ 2374936 w 7156079"/>
              <a:gd name="connsiteY3" fmla="*/ 690664 h 2733472"/>
              <a:gd name="connsiteX4" fmla="*/ 3566574 w 7156079"/>
              <a:gd name="connsiteY4" fmla="*/ 0 h 2733472"/>
              <a:gd name="connsiteX5" fmla="*/ 4758212 w 7156079"/>
              <a:gd name="connsiteY5" fmla="*/ 680936 h 2733472"/>
              <a:gd name="connsiteX6" fmla="*/ 4753348 w 7156079"/>
              <a:gd name="connsiteY6" fmla="*/ 2052536 h 2733472"/>
              <a:gd name="connsiteX7" fmla="*/ 5954714 w 7156079"/>
              <a:gd name="connsiteY7" fmla="*/ 2733472 h 2733472"/>
              <a:gd name="connsiteX8" fmla="*/ 7156079 w 7156079"/>
              <a:gd name="connsiteY8" fmla="*/ 2052536 h 2733472"/>
              <a:gd name="connsiteX0" fmla="*/ 0 w 7156079"/>
              <a:gd name="connsiteY0" fmla="*/ 2035152 h 2733472"/>
              <a:gd name="connsiteX1" fmla="*/ 1183297 w 7156079"/>
              <a:gd name="connsiteY1" fmla="*/ 1344488 h 2733472"/>
              <a:gd name="connsiteX2" fmla="*/ 2365208 w 7156079"/>
              <a:gd name="connsiteY2" fmla="*/ 2057400 h 2733472"/>
              <a:gd name="connsiteX3" fmla="*/ 2374936 w 7156079"/>
              <a:gd name="connsiteY3" fmla="*/ 690664 h 2733472"/>
              <a:gd name="connsiteX4" fmla="*/ 3566574 w 7156079"/>
              <a:gd name="connsiteY4" fmla="*/ 0 h 2733472"/>
              <a:gd name="connsiteX5" fmla="*/ 4758212 w 7156079"/>
              <a:gd name="connsiteY5" fmla="*/ 680936 h 2733472"/>
              <a:gd name="connsiteX6" fmla="*/ 4753348 w 7156079"/>
              <a:gd name="connsiteY6" fmla="*/ 2052536 h 2733472"/>
              <a:gd name="connsiteX7" fmla="*/ 5954714 w 7156079"/>
              <a:gd name="connsiteY7" fmla="*/ 2733472 h 2733472"/>
              <a:gd name="connsiteX8" fmla="*/ 7156079 w 7156079"/>
              <a:gd name="connsiteY8" fmla="*/ 2052536 h 2733472"/>
              <a:gd name="connsiteX0" fmla="*/ 0 w 7156079"/>
              <a:gd name="connsiteY0" fmla="*/ 2035152 h 2733472"/>
              <a:gd name="connsiteX1" fmla="*/ 1183297 w 7156079"/>
              <a:gd name="connsiteY1" fmla="*/ 1344488 h 2733472"/>
              <a:gd name="connsiteX2" fmla="*/ 2361731 w 7156079"/>
              <a:gd name="connsiteY2" fmla="*/ 2029586 h 2733472"/>
              <a:gd name="connsiteX3" fmla="*/ 2374936 w 7156079"/>
              <a:gd name="connsiteY3" fmla="*/ 690664 h 2733472"/>
              <a:gd name="connsiteX4" fmla="*/ 3566574 w 7156079"/>
              <a:gd name="connsiteY4" fmla="*/ 0 h 2733472"/>
              <a:gd name="connsiteX5" fmla="*/ 4758212 w 7156079"/>
              <a:gd name="connsiteY5" fmla="*/ 680936 h 2733472"/>
              <a:gd name="connsiteX6" fmla="*/ 4753348 w 7156079"/>
              <a:gd name="connsiteY6" fmla="*/ 2052536 h 2733472"/>
              <a:gd name="connsiteX7" fmla="*/ 5954714 w 7156079"/>
              <a:gd name="connsiteY7" fmla="*/ 2733472 h 2733472"/>
              <a:gd name="connsiteX8" fmla="*/ 7156079 w 7156079"/>
              <a:gd name="connsiteY8" fmla="*/ 2052536 h 2733472"/>
              <a:gd name="connsiteX0" fmla="*/ 0 w 7156079"/>
              <a:gd name="connsiteY0" fmla="*/ 2035152 h 2733472"/>
              <a:gd name="connsiteX1" fmla="*/ 1183297 w 7156079"/>
              <a:gd name="connsiteY1" fmla="*/ 1344488 h 2733472"/>
              <a:gd name="connsiteX2" fmla="*/ 2382592 w 7156079"/>
              <a:gd name="connsiteY2" fmla="*/ 2033063 h 2733472"/>
              <a:gd name="connsiteX3" fmla="*/ 2374936 w 7156079"/>
              <a:gd name="connsiteY3" fmla="*/ 690664 h 2733472"/>
              <a:gd name="connsiteX4" fmla="*/ 3566574 w 7156079"/>
              <a:gd name="connsiteY4" fmla="*/ 0 h 2733472"/>
              <a:gd name="connsiteX5" fmla="*/ 4758212 w 7156079"/>
              <a:gd name="connsiteY5" fmla="*/ 680936 h 2733472"/>
              <a:gd name="connsiteX6" fmla="*/ 4753348 w 7156079"/>
              <a:gd name="connsiteY6" fmla="*/ 2052536 h 2733472"/>
              <a:gd name="connsiteX7" fmla="*/ 5954714 w 7156079"/>
              <a:gd name="connsiteY7" fmla="*/ 2733472 h 2733472"/>
              <a:gd name="connsiteX8" fmla="*/ 7156079 w 7156079"/>
              <a:gd name="connsiteY8" fmla="*/ 2052536 h 2733472"/>
              <a:gd name="connsiteX0" fmla="*/ 0 w 7156079"/>
              <a:gd name="connsiteY0" fmla="*/ 2035152 h 2733472"/>
              <a:gd name="connsiteX1" fmla="*/ 1183297 w 7156079"/>
              <a:gd name="connsiteY1" fmla="*/ 1344488 h 2733472"/>
              <a:gd name="connsiteX2" fmla="*/ 2372162 w 7156079"/>
              <a:gd name="connsiteY2" fmla="*/ 2026110 h 2733472"/>
              <a:gd name="connsiteX3" fmla="*/ 2374936 w 7156079"/>
              <a:gd name="connsiteY3" fmla="*/ 690664 h 2733472"/>
              <a:gd name="connsiteX4" fmla="*/ 3566574 w 7156079"/>
              <a:gd name="connsiteY4" fmla="*/ 0 h 2733472"/>
              <a:gd name="connsiteX5" fmla="*/ 4758212 w 7156079"/>
              <a:gd name="connsiteY5" fmla="*/ 680936 h 2733472"/>
              <a:gd name="connsiteX6" fmla="*/ 4753348 w 7156079"/>
              <a:gd name="connsiteY6" fmla="*/ 2052536 h 2733472"/>
              <a:gd name="connsiteX7" fmla="*/ 5954714 w 7156079"/>
              <a:gd name="connsiteY7" fmla="*/ 2733472 h 2733472"/>
              <a:gd name="connsiteX8" fmla="*/ 7156079 w 7156079"/>
              <a:gd name="connsiteY8" fmla="*/ 2052536 h 2733472"/>
              <a:gd name="connsiteX0" fmla="*/ 0 w 7156079"/>
              <a:gd name="connsiteY0" fmla="*/ 2062966 h 2761286"/>
              <a:gd name="connsiteX1" fmla="*/ 1183297 w 7156079"/>
              <a:gd name="connsiteY1" fmla="*/ 1372302 h 2761286"/>
              <a:gd name="connsiteX2" fmla="*/ 2372162 w 7156079"/>
              <a:gd name="connsiteY2" fmla="*/ 2053924 h 2761286"/>
              <a:gd name="connsiteX3" fmla="*/ 2374936 w 7156079"/>
              <a:gd name="connsiteY3" fmla="*/ 718478 h 2761286"/>
              <a:gd name="connsiteX4" fmla="*/ 3577004 w 7156079"/>
              <a:gd name="connsiteY4" fmla="*/ 0 h 2761286"/>
              <a:gd name="connsiteX5" fmla="*/ 4758212 w 7156079"/>
              <a:gd name="connsiteY5" fmla="*/ 708750 h 2761286"/>
              <a:gd name="connsiteX6" fmla="*/ 4753348 w 7156079"/>
              <a:gd name="connsiteY6" fmla="*/ 2080350 h 2761286"/>
              <a:gd name="connsiteX7" fmla="*/ 5954714 w 7156079"/>
              <a:gd name="connsiteY7" fmla="*/ 2761286 h 2761286"/>
              <a:gd name="connsiteX8" fmla="*/ 7156079 w 7156079"/>
              <a:gd name="connsiteY8" fmla="*/ 2080350 h 2761286"/>
              <a:gd name="connsiteX0" fmla="*/ 0 w 7156079"/>
              <a:gd name="connsiteY0" fmla="*/ 2062966 h 2761286"/>
              <a:gd name="connsiteX1" fmla="*/ 1183297 w 7156079"/>
              <a:gd name="connsiteY1" fmla="*/ 1372302 h 2761286"/>
              <a:gd name="connsiteX2" fmla="*/ 2372162 w 7156079"/>
              <a:gd name="connsiteY2" fmla="*/ 2053924 h 2761286"/>
              <a:gd name="connsiteX3" fmla="*/ 2371460 w 7156079"/>
              <a:gd name="connsiteY3" fmla="*/ 708048 h 2761286"/>
              <a:gd name="connsiteX4" fmla="*/ 3577004 w 7156079"/>
              <a:gd name="connsiteY4" fmla="*/ 0 h 2761286"/>
              <a:gd name="connsiteX5" fmla="*/ 4758212 w 7156079"/>
              <a:gd name="connsiteY5" fmla="*/ 708750 h 2761286"/>
              <a:gd name="connsiteX6" fmla="*/ 4753348 w 7156079"/>
              <a:gd name="connsiteY6" fmla="*/ 2080350 h 2761286"/>
              <a:gd name="connsiteX7" fmla="*/ 5954714 w 7156079"/>
              <a:gd name="connsiteY7" fmla="*/ 2761286 h 2761286"/>
              <a:gd name="connsiteX8" fmla="*/ 7156079 w 7156079"/>
              <a:gd name="connsiteY8" fmla="*/ 2080350 h 2761286"/>
              <a:gd name="connsiteX0" fmla="*/ 0 w 7156079"/>
              <a:gd name="connsiteY0" fmla="*/ 2035152 h 2733472"/>
              <a:gd name="connsiteX1" fmla="*/ 1183297 w 7156079"/>
              <a:gd name="connsiteY1" fmla="*/ 1344488 h 2733472"/>
              <a:gd name="connsiteX2" fmla="*/ 2372162 w 7156079"/>
              <a:gd name="connsiteY2" fmla="*/ 2026110 h 2733472"/>
              <a:gd name="connsiteX3" fmla="*/ 2371460 w 7156079"/>
              <a:gd name="connsiteY3" fmla="*/ 680234 h 2733472"/>
              <a:gd name="connsiteX4" fmla="*/ 3573527 w 7156079"/>
              <a:gd name="connsiteY4" fmla="*/ 0 h 2733472"/>
              <a:gd name="connsiteX5" fmla="*/ 4758212 w 7156079"/>
              <a:gd name="connsiteY5" fmla="*/ 680936 h 2733472"/>
              <a:gd name="connsiteX6" fmla="*/ 4753348 w 7156079"/>
              <a:gd name="connsiteY6" fmla="*/ 2052536 h 2733472"/>
              <a:gd name="connsiteX7" fmla="*/ 5954714 w 7156079"/>
              <a:gd name="connsiteY7" fmla="*/ 2733472 h 2733472"/>
              <a:gd name="connsiteX8" fmla="*/ 7156079 w 7156079"/>
              <a:gd name="connsiteY8" fmla="*/ 2052536 h 2733472"/>
              <a:gd name="connsiteX0" fmla="*/ 0 w 7156079"/>
              <a:gd name="connsiteY0" fmla="*/ 2062967 h 2761287"/>
              <a:gd name="connsiteX1" fmla="*/ 1183297 w 7156079"/>
              <a:gd name="connsiteY1" fmla="*/ 1372303 h 2761287"/>
              <a:gd name="connsiteX2" fmla="*/ 2372162 w 7156079"/>
              <a:gd name="connsiteY2" fmla="*/ 2053925 h 2761287"/>
              <a:gd name="connsiteX3" fmla="*/ 2371460 w 7156079"/>
              <a:gd name="connsiteY3" fmla="*/ 708049 h 2761287"/>
              <a:gd name="connsiteX4" fmla="*/ 3563096 w 7156079"/>
              <a:gd name="connsiteY4" fmla="*/ 0 h 2761287"/>
              <a:gd name="connsiteX5" fmla="*/ 4758212 w 7156079"/>
              <a:gd name="connsiteY5" fmla="*/ 708751 h 2761287"/>
              <a:gd name="connsiteX6" fmla="*/ 4753348 w 7156079"/>
              <a:gd name="connsiteY6" fmla="*/ 2080351 h 2761287"/>
              <a:gd name="connsiteX7" fmla="*/ 5954714 w 7156079"/>
              <a:gd name="connsiteY7" fmla="*/ 2761287 h 2761287"/>
              <a:gd name="connsiteX8" fmla="*/ 7156079 w 7156079"/>
              <a:gd name="connsiteY8" fmla="*/ 2080351 h 2761287"/>
              <a:gd name="connsiteX0" fmla="*/ 0 w 7156079"/>
              <a:gd name="connsiteY0" fmla="*/ 2045583 h 2743903"/>
              <a:gd name="connsiteX1" fmla="*/ 1183297 w 7156079"/>
              <a:gd name="connsiteY1" fmla="*/ 1354919 h 2743903"/>
              <a:gd name="connsiteX2" fmla="*/ 2372162 w 7156079"/>
              <a:gd name="connsiteY2" fmla="*/ 2036541 h 2743903"/>
              <a:gd name="connsiteX3" fmla="*/ 2371460 w 7156079"/>
              <a:gd name="connsiteY3" fmla="*/ 690665 h 2743903"/>
              <a:gd name="connsiteX4" fmla="*/ 3563096 w 7156079"/>
              <a:gd name="connsiteY4" fmla="*/ 0 h 2743903"/>
              <a:gd name="connsiteX5" fmla="*/ 4758212 w 7156079"/>
              <a:gd name="connsiteY5" fmla="*/ 691367 h 2743903"/>
              <a:gd name="connsiteX6" fmla="*/ 4753348 w 7156079"/>
              <a:gd name="connsiteY6" fmla="*/ 2062967 h 2743903"/>
              <a:gd name="connsiteX7" fmla="*/ 5954714 w 7156079"/>
              <a:gd name="connsiteY7" fmla="*/ 2743903 h 2743903"/>
              <a:gd name="connsiteX8" fmla="*/ 7156079 w 7156079"/>
              <a:gd name="connsiteY8" fmla="*/ 2062967 h 2743903"/>
              <a:gd name="connsiteX0" fmla="*/ 0 w 7156079"/>
              <a:gd name="connsiteY0" fmla="*/ 2052537 h 2750857"/>
              <a:gd name="connsiteX1" fmla="*/ 1183297 w 7156079"/>
              <a:gd name="connsiteY1" fmla="*/ 1361873 h 2750857"/>
              <a:gd name="connsiteX2" fmla="*/ 2372162 w 7156079"/>
              <a:gd name="connsiteY2" fmla="*/ 2043495 h 2750857"/>
              <a:gd name="connsiteX3" fmla="*/ 2371460 w 7156079"/>
              <a:gd name="connsiteY3" fmla="*/ 697619 h 2750857"/>
              <a:gd name="connsiteX4" fmla="*/ 3559620 w 7156079"/>
              <a:gd name="connsiteY4" fmla="*/ 0 h 2750857"/>
              <a:gd name="connsiteX5" fmla="*/ 4758212 w 7156079"/>
              <a:gd name="connsiteY5" fmla="*/ 698321 h 2750857"/>
              <a:gd name="connsiteX6" fmla="*/ 4753348 w 7156079"/>
              <a:gd name="connsiteY6" fmla="*/ 2069921 h 2750857"/>
              <a:gd name="connsiteX7" fmla="*/ 5954714 w 7156079"/>
              <a:gd name="connsiteY7" fmla="*/ 2750857 h 2750857"/>
              <a:gd name="connsiteX8" fmla="*/ 7156079 w 7156079"/>
              <a:gd name="connsiteY8" fmla="*/ 2069921 h 2750857"/>
              <a:gd name="connsiteX0" fmla="*/ 0 w 7156079"/>
              <a:gd name="connsiteY0" fmla="*/ 2052537 h 2750857"/>
              <a:gd name="connsiteX1" fmla="*/ 1183297 w 7156079"/>
              <a:gd name="connsiteY1" fmla="*/ 1361873 h 2750857"/>
              <a:gd name="connsiteX2" fmla="*/ 2372162 w 7156079"/>
              <a:gd name="connsiteY2" fmla="*/ 2043495 h 2750857"/>
              <a:gd name="connsiteX3" fmla="*/ 2371460 w 7156079"/>
              <a:gd name="connsiteY3" fmla="*/ 697619 h 2750857"/>
              <a:gd name="connsiteX4" fmla="*/ 3559620 w 7156079"/>
              <a:gd name="connsiteY4" fmla="*/ 0 h 2750857"/>
              <a:gd name="connsiteX5" fmla="*/ 4751259 w 7156079"/>
              <a:gd name="connsiteY5" fmla="*/ 698321 h 2750857"/>
              <a:gd name="connsiteX6" fmla="*/ 4753348 w 7156079"/>
              <a:gd name="connsiteY6" fmla="*/ 2069921 h 2750857"/>
              <a:gd name="connsiteX7" fmla="*/ 5954714 w 7156079"/>
              <a:gd name="connsiteY7" fmla="*/ 2750857 h 2750857"/>
              <a:gd name="connsiteX8" fmla="*/ 7156079 w 7156079"/>
              <a:gd name="connsiteY8" fmla="*/ 2069921 h 2750857"/>
              <a:gd name="connsiteX0" fmla="*/ 0 w 7156079"/>
              <a:gd name="connsiteY0" fmla="*/ 2052537 h 2750857"/>
              <a:gd name="connsiteX1" fmla="*/ 1183297 w 7156079"/>
              <a:gd name="connsiteY1" fmla="*/ 1361873 h 2750857"/>
              <a:gd name="connsiteX2" fmla="*/ 2372162 w 7156079"/>
              <a:gd name="connsiteY2" fmla="*/ 2043495 h 2750857"/>
              <a:gd name="connsiteX3" fmla="*/ 2371460 w 7156079"/>
              <a:gd name="connsiteY3" fmla="*/ 697619 h 2750857"/>
              <a:gd name="connsiteX4" fmla="*/ 3559620 w 7156079"/>
              <a:gd name="connsiteY4" fmla="*/ 0 h 2750857"/>
              <a:gd name="connsiteX5" fmla="*/ 4751259 w 7156079"/>
              <a:gd name="connsiteY5" fmla="*/ 698321 h 2750857"/>
              <a:gd name="connsiteX6" fmla="*/ 4742917 w 7156079"/>
              <a:gd name="connsiteY6" fmla="*/ 2062967 h 2750857"/>
              <a:gd name="connsiteX7" fmla="*/ 5954714 w 7156079"/>
              <a:gd name="connsiteY7" fmla="*/ 2750857 h 2750857"/>
              <a:gd name="connsiteX8" fmla="*/ 7156079 w 7156079"/>
              <a:gd name="connsiteY8" fmla="*/ 2069921 h 2750857"/>
              <a:gd name="connsiteX0" fmla="*/ 0 w 7156079"/>
              <a:gd name="connsiteY0" fmla="*/ 2052537 h 2736950"/>
              <a:gd name="connsiteX1" fmla="*/ 1183297 w 7156079"/>
              <a:gd name="connsiteY1" fmla="*/ 1361873 h 2736950"/>
              <a:gd name="connsiteX2" fmla="*/ 2372162 w 7156079"/>
              <a:gd name="connsiteY2" fmla="*/ 2043495 h 2736950"/>
              <a:gd name="connsiteX3" fmla="*/ 2371460 w 7156079"/>
              <a:gd name="connsiteY3" fmla="*/ 697619 h 2736950"/>
              <a:gd name="connsiteX4" fmla="*/ 3559620 w 7156079"/>
              <a:gd name="connsiteY4" fmla="*/ 0 h 2736950"/>
              <a:gd name="connsiteX5" fmla="*/ 4751259 w 7156079"/>
              <a:gd name="connsiteY5" fmla="*/ 698321 h 2736950"/>
              <a:gd name="connsiteX6" fmla="*/ 4742917 w 7156079"/>
              <a:gd name="connsiteY6" fmla="*/ 2062967 h 2736950"/>
              <a:gd name="connsiteX7" fmla="*/ 5954714 w 7156079"/>
              <a:gd name="connsiteY7" fmla="*/ 2736950 h 2736950"/>
              <a:gd name="connsiteX8" fmla="*/ 7156079 w 7156079"/>
              <a:gd name="connsiteY8" fmla="*/ 2069921 h 2736950"/>
              <a:gd name="connsiteX0" fmla="*/ 0 w 7156079"/>
              <a:gd name="connsiteY0" fmla="*/ 2052537 h 2736950"/>
              <a:gd name="connsiteX1" fmla="*/ 1183297 w 7156079"/>
              <a:gd name="connsiteY1" fmla="*/ 1361873 h 2736950"/>
              <a:gd name="connsiteX2" fmla="*/ 2372162 w 7156079"/>
              <a:gd name="connsiteY2" fmla="*/ 2043495 h 2736950"/>
              <a:gd name="connsiteX3" fmla="*/ 2371460 w 7156079"/>
              <a:gd name="connsiteY3" fmla="*/ 697619 h 2736950"/>
              <a:gd name="connsiteX4" fmla="*/ 3559620 w 7156079"/>
              <a:gd name="connsiteY4" fmla="*/ 0 h 2736950"/>
              <a:gd name="connsiteX5" fmla="*/ 4751259 w 7156079"/>
              <a:gd name="connsiteY5" fmla="*/ 698321 h 2736950"/>
              <a:gd name="connsiteX6" fmla="*/ 4760301 w 7156079"/>
              <a:gd name="connsiteY6" fmla="*/ 2052536 h 2736950"/>
              <a:gd name="connsiteX7" fmla="*/ 5954714 w 7156079"/>
              <a:gd name="connsiteY7" fmla="*/ 2736950 h 2736950"/>
              <a:gd name="connsiteX8" fmla="*/ 7156079 w 7156079"/>
              <a:gd name="connsiteY8" fmla="*/ 2069921 h 2736950"/>
              <a:gd name="connsiteX0" fmla="*/ 0 w 7156079"/>
              <a:gd name="connsiteY0" fmla="*/ 2052537 h 2736950"/>
              <a:gd name="connsiteX1" fmla="*/ 1183297 w 7156079"/>
              <a:gd name="connsiteY1" fmla="*/ 1361873 h 2736950"/>
              <a:gd name="connsiteX2" fmla="*/ 2372162 w 7156079"/>
              <a:gd name="connsiteY2" fmla="*/ 2043495 h 2736950"/>
              <a:gd name="connsiteX3" fmla="*/ 2371460 w 7156079"/>
              <a:gd name="connsiteY3" fmla="*/ 697619 h 2736950"/>
              <a:gd name="connsiteX4" fmla="*/ 3559620 w 7156079"/>
              <a:gd name="connsiteY4" fmla="*/ 0 h 2736950"/>
              <a:gd name="connsiteX5" fmla="*/ 4751259 w 7156079"/>
              <a:gd name="connsiteY5" fmla="*/ 698321 h 2736950"/>
              <a:gd name="connsiteX6" fmla="*/ 4742917 w 7156079"/>
              <a:gd name="connsiteY6" fmla="*/ 2052536 h 2736950"/>
              <a:gd name="connsiteX7" fmla="*/ 5954714 w 7156079"/>
              <a:gd name="connsiteY7" fmla="*/ 2736950 h 2736950"/>
              <a:gd name="connsiteX8" fmla="*/ 7156079 w 7156079"/>
              <a:gd name="connsiteY8" fmla="*/ 2069921 h 2736950"/>
              <a:gd name="connsiteX0" fmla="*/ 0 w 7135218"/>
              <a:gd name="connsiteY0" fmla="*/ 2052537 h 2736950"/>
              <a:gd name="connsiteX1" fmla="*/ 1183297 w 7135218"/>
              <a:gd name="connsiteY1" fmla="*/ 1361873 h 2736950"/>
              <a:gd name="connsiteX2" fmla="*/ 2372162 w 7135218"/>
              <a:gd name="connsiteY2" fmla="*/ 2043495 h 2736950"/>
              <a:gd name="connsiteX3" fmla="*/ 2371460 w 7135218"/>
              <a:gd name="connsiteY3" fmla="*/ 697619 h 2736950"/>
              <a:gd name="connsiteX4" fmla="*/ 3559620 w 7135218"/>
              <a:gd name="connsiteY4" fmla="*/ 0 h 2736950"/>
              <a:gd name="connsiteX5" fmla="*/ 4751259 w 7135218"/>
              <a:gd name="connsiteY5" fmla="*/ 698321 h 2736950"/>
              <a:gd name="connsiteX6" fmla="*/ 4742917 w 7135218"/>
              <a:gd name="connsiteY6" fmla="*/ 2052536 h 2736950"/>
              <a:gd name="connsiteX7" fmla="*/ 5954714 w 7135218"/>
              <a:gd name="connsiteY7" fmla="*/ 2736950 h 2736950"/>
              <a:gd name="connsiteX8" fmla="*/ 7135218 w 7135218"/>
              <a:gd name="connsiteY8" fmla="*/ 2056014 h 2736950"/>
              <a:gd name="connsiteX0" fmla="*/ 0 w 7124788"/>
              <a:gd name="connsiteY0" fmla="*/ 2052537 h 2736950"/>
              <a:gd name="connsiteX1" fmla="*/ 1183297 w 7124788"/>
              <a:gd name="connsiteY1" fmla="*/ 1361873 h 2736950"/>
              <a:gd name="connsiteX2" fmla="*/ 2372162 w 7124788"/>
              <a:gd name="connsiteY2" fmla="*/ 2043495 h 2736950"/>
              <a:gd name="connsiteX3" fmla="*/ 2371460 w 7124788"/>
              <a:gd name="connsiteY3" fmla="*/ 697619 h 2736950"/>
              <a:gd name="connsiteX4" fmla="*/ 3559620 w 7124788"/>
              <a:gd name="connsiteY4" fmla="*/ 0 h 2736950"/>
              <a:gd name="connsiteX5" fmla="*/ 4751259 w 7124788"/>
              <a:gd name="connsiteY5" fmla="*/ 698321 h 2736950"/>
              <a:gd name="connsiteX6" fmla="*/ 4742917 w 7124788"/>
              <a:gd name="connsiteY6" fmla="*/ 2052536 h 2736950"/>
              <a:gd name="connsiteX7" fmla="*/ 5954714 w 7124788"/>
              <a:gd name="connsiteY7" fmla="*/ 2736950 h 2736950"/>
              <a:gd name="connsiteX8" fmla="*/ 7124788 w 7124788"/>
              <a:gd name="connsiteY8" fmla="*/ 2045583 h 2736950"/>
              <a:gd name="connsiteX0" fmla="*/ 0 w 7135218"/>
              <a:gd name="connsiteY0" fmla="*/ 2052537 h 2736950"/>
              <a:gd name="connsiteX1" fmla="*/ 1183297 w 7135218"/>
              <a:gd name="connsiteY1" fmla="*/ 1361873 h 2736950"/>
              <a:gd name="connsiteX2" fmla="*/ 2372162 w 7135218"/>
              <a:gd name="connsiteY2" fmla="*/ 2043495 h 2736950"/>
              <a:gd name="connsiteX3" fmla="*/ 2371460 w 7135218"/>
              <a:gd name="connsiteY3" fmla="*/ 697619 h 2736950"/>
              <a:gd name="connsiteX4" fmla="*/ 3559620 w 7135218"/>
              <a:gd name="connsiteY4" fmla="*/ 0 h 2736950"/>
              <a:gd name="connsiteX5" fmla="*/ 4751259 w 7135218"/>
              <a:gd name="connsiteY5" fmla="*/ 698321 h 2736950"/>
              <a:gd name="connsiteX6" fmla="*/ 4742917 w 7135218"/>
              <a:gd name="connsiteY6" fmla="*/ 2052536 h 2736950"/>
              <a:gd name="connsiteX7" fmla="*/ 5954714 w 7135218"/>
              <a:gd name="connsiteY7" fmla="*/ 2736950 h 2736950"/>
              <a:gd name="connsiteX8" fmla="*/ 7135218 w 7135218"/>
              <a:gd name="connsiteY8" fmla="*/ 2052536 h 2736950"/>
              <a:gd name="connsiteX0" fmla="*/ 0 w 7135218"/>
              <a:gd name="connsiteY0" fmla="*/ 2052537 h 2736950"/>
              <a:gd name="connsiteX1" fmla="*/ 1183297 w 7135218"/>
              <a:gd name="connsiteY1" fmla="*/ 1361873 h 2736950"/>
              <a:gd name="connsiteX2" fmla="*/ 2376070 w 7135218"/>
              <a:gd name="connsiteY2" fmla="*/ 2055218 h 2736950"/>
              <a:gd name="connsiteX3" fmla="*/ 2371460 w 7135218"/>
              <a:gd name="connsiteY3" fmla="*/ 697619 h 2736950"/>
              <a:gd name="connsiteX4" fmla="*/ 3559620 w 7135218"/>
              <a:gd name="connsiteY4" fmla="*/ 0 h 2736950"/>
              <a:gd name="connsiteX5" fmla="*/ 4751259 w 7135218"/>
              <a:gd name="connsiteY5" fmla="*/ 698321 h 2736950"/>
              <a:gd name="connsiteX6" fmla="*/ 4742917 w 7135218"/>
              <a:gd name="connsiteY6" fmla="*/ 2052536 h 2736950"/>
              <a:gd name="connsiteX7" fmla="*/ 5954714 w 7135218"/>
              <a:gd name="connsiteY7" fmla="*/ 2736950 h 2736950"/>
              <a:gd name="connsiteX8" fmla="*/ 7135218 w 7135218"/>
              <a:gd name="connsiteY8" fmla="*/ 2052536 h 2736950"/>
              <a:gd name="connsiteX0" fmla="*/ 0 w 7135218"/>
              <a:gd name="connsiteY0" fmla="*/ 2067128 h 2736950"/>
              <a:gd name="connsiteX1" fmla="*/ 1183297 w 7135218"/>
              <a:gd name="connsiteY1" fmla="*/ 1361873 h 2736950"/>
              <a:gd name="connsiteX2" fmla="*/ 2376070 w 7135218"/>
              <a:gd name="connsiteY2" fmla="*/ 2055218 h 2736950"/>
              <a:gd name="connsiteX3" fmla="*/ 2371460 w 7135218"/>
              <a:gd name="connsiteY3" fmla="*/ 697619 h 2736950"/>
              <a:gd name="connsiteX4" fmla="*/ 3559620 w 7135218"/>
              <a:gd name="connsiteY4" fmla="*/ 0 h 2736950"/>
              <a:gd name="connsiteX5" fmla="*/ 4751259 w 7135218"/>
              <a:gd name="connsiteY5" fmla="*/ 698321 h 2736950"/>
              <a:gd name="connsiteX6" fmla="*/ 4742917 w 7135218"/>
              <a:gd name="connsiteY6" fmla="*/ 2052536 h 2736950"/>
              <a:gd name="connsiteX7" fmla="*/ 5954714 w 7135218"/>
              <a:gd name="connsiteY7" fmla="*/ 2736950 h 2736950"/>
              <a:gd name="connsiteX8" fmla="*/ 7135218 w 7135218"/>
              <a:gd name="connsiteY8" fmla="*/ 2052536 h 2736950"/>
              <a:gd name="connsiteX0" fmla="*/ 0 w 7159537"/>
              <a:gd name="connsiteY0" fmla="*/ 2062264 h 2736950"/>
              <a:gd name="connsiteX1" fmla="*/ 1207616 w 7159537"/>
              <a:gd name="connsiteY1" fmla="*/ 1361873 h 2736950"/>
              <a:gd name="connsiteX2" fmla="*/ 2400389 w 7159537"/>
              <a:gd name="connsiteY2" fmla="*/ 2055218 h 2736950"/>
              <a:gd name="connsiteX3" fmla="*/ 2395779 w 7159537"/>
              <a:gd name="connsiteY3" fmla="*/ 697619 h 2736950"/>
              <a:gd name="connsiteX4" fmla="*/ 3583939 w 7159537"/>
              <a:gd name="connsiteY4" fmla="*/ 0 h 2736950"/>
              <a:gd name="connsiteX5" fmla="*/ 4775578 w 7159537"/>
              <a:gd name="connsiteY5" fmla="*/ 698321 h 2736950"/>
              <a:gd name="connsiteX6" fmla="*/ 4767236 w 7159537"/>
              <a:gd name="connsiteY6" fmla="*/ 2052536 h 2736950"/>
              <a:gd name="connsiteX7" fmla="*/ 5979033 w 7159537"/>
              <a:gd name="connsiteY7" fmla="*/ 2736950 h 2736950"/>
              <a:gd name="connsiteX8" fmla="*/ 7159537 w 7159537"/>
              <a:gd name="connsiteY8" fmla="*/ 2052536 h 2736950"/>
              <a:gd name="connsiteX0" fmla="*/ 0 w 7149809"/>
              <a:gd name="connsiteY0" fmla="*/ 2071991 h 2736950"/>
              <a:gd name="connsiteX1" fmla="*/ 1197888 w 7149809"/>
              <a:gd name="connsiteY1" fmla="*/ 1361873 h 2736950"/>
              <a:gd name="connsiteX2" fmla="*/ 2390661 w 7149809"/>
              <a:gd name="connsiteY2" fmla="*/ 2055218 h 2736950"/>
              <a:gd name="connsiteX3" fmla="*/ 2386051 w 7149809"/>
              <a:gd name="connsiteY3" fmla="*/ 697619 h 2736950"/>
              <a:gd name="connsiteX4" fmla="*/ 3574211 w 7149809"/>
              <a:gd name="connsiteY4" fmla="*/ 0 h 2736950"/>
              <a:gd name="connsiteX5" fmla="*/ 4765850 w 7149809"/>
              <a:gd name="connsiteY5" fmla="*/ 698321 h 2736950"/>
              <a:gd name="connsiteX6" fmla="*/ 4757508 w 7149809"/>
              <a:gd name="connsiteY6" fmla="*/ 2052536 h 2736950"/>
              <a:gd name="connsiteX7" fmla="*/ 5969305 w 7149809"/>
              <a:gd name="connsiteY7" fmla="*/ 2736950 h 2736950"/>
              <a:gd name="connsiteX8" fmla="*/ 7149809 w 7149809"/>
              <a:gd name="connsiteY8" fmla="*/ 2052536 h 2736950"/>
              <a:gd name="connsiteX0" fmla="*/ 0 w 7149809"/>
              <a:gd name="connsiteY0" fmla="*/ 2071991 h 2736950"/>
              <a:gd name="connsiteX1" fmla="*/ 1222208 w 7149809"/>
              <a:gd name="connsiteY1" fmla="*/ 1357009 h 2736950"/>
              <a:gd name="connsiteX2" fmla="*/ 2390661 w 7149809"/>
              <a:gd name="connsiteY2" fmla="*/ 2055218 h 2736950"/>
              <a:gd name="connsiteX3" fmla="*/ 2386051 w 7149809"/>
              <a:gd name="connsiteY3" fmla="*/ 697619 h 2736950"/>
              <a:gd name="connsiteX4" fmla="*/ 3574211 w 7149809"/>
              <a:gd name="connsiteY4" fmla="*/ 0 h 2736950"/>
              <a:gd name="connsiteX5" fmla="*/ 4765850 w 7149809"/>
              <a:gd name="connsiteY5" fmla="*/ 698321 h 2736950"/>
              <a:gd name="connsiteX6" fmla="*/ 4757508 w 7149809"/>
              <a:gd name="connsiteY6" fmla="*/ 2052536 h 2736950"/>
              <a:gd name="connsiteX7" fmla="*/ 5969305 w 7149809"/>
              <a:gd name="connsiteY7" fmla="*/ 2736950 h 2736950"/>
              <a:gd name="connsiteX8" fmla="*/ 7149809 w 7149809"/>
              <a:gd name="connsiteY8" fmla="*/ 2052536 h 2736950"/>
              <a:gd name="connsiteX0" fmla="*/ 0 w 7149809"/>
              <a:gd name="connsiteY0" fmla="*/ 2071991 h 2736950"/>
              <a:gd name="connsiteX1" fmla="*/ 1217344 w 7149809"/>
              <a:gd name="connsiteY1" fmla="*/ 1376465 h 2736950"/>
              <a:gd name="connsiteX2" fmla="*/ 2390661 w 7149809"/>
              <a:gd name="connsiteY2" fmla="*/ 2055218 h 2736950"/>
              <a:gd name="connsiteX3" fmla="*/ 2386051 w 7149809"/>
              <a:gd name="connsiteY3" fmla="*/ 697619 h 2736950"/>
              <a:gd name="connsiteX4" fmla="*/ 3574211 w 7149809"/>
              <a:gd name="connsiteY4" fmla="*/ 0 h 2736950"/>
              <a:gd name="connsiteX5" fmla="*/ 4765850 w 7149809"/>
              <a:gd name="connsiteY5" fmla="*/ 698321 h 2736950"/>
              <a:gd name="connsiteX6" fmla="*/ 4757508 w 7149809"/>
              <a:gd name="connsiteY6" fmla="*/ 2052536 h 2736950"/>
              <a:gd name="connsiteX7" fmla="*/ 5969305 w 7149809"/>
              <a:gd name="connsiteY7" fmla="*/ 2736950 h 2736950"/>
              <a:gd name="connsiteX8" fmla="*/ 7149809 w 7149809"/>
              <a:gd name="connsiteY8" fmla="*/ 2052536 h 2736950"/>
              <a:gd name="connsiteX0" fmla="*/ 0 w 7149809"/>
              <a:gd name="connsiteY0" fmla="*/ 2071991 h 2736950"/>
              <a:gd name="connsiteX1" fmla="*/ 1217344 w 7149809"/>
              <a:gd name="connsiteY1" fmla="*/ 1376465 h 2736950"/>
              <a:gd name="connsiteX2" fmla="*/ 2390661 w 7149809"/>
              <a:gd name="connsiteY2" fmla="*/ 2055218 h 2736950"/>
              <a:gd name="connsiteX3" fmla="*/ 2386051 w 7149809"/>
              <a:gd name="connsiteY3" fmla="*/ 697619 h 2736950"/>
              <a:gd name="connsiteX4" fmla="*/ 3574211 w 7149809"/>
              <a:gd name="connsiteY4" fmla="*/ 0 h 2736950"/>
              <a:gd name="connsiteX5" fmla="*/ 4765850 w 7149809"/>
              <a:gd name="connsiteY5" fmla="*/ 698321 h 2736950"/>
              <a:gd name="connsiteX6" fmla="*/ 4757508 w 7149809"/>
              <a:gd name="connsiteY6" fmla="*/ 2052536 h 2736950"/>
              <a:gd name="connsiteX7" fmla="*/ 5969305 w 7149809"/>
              <a:gd name="connsiteY7" fmla="*/ 2736950 h 2736950"/>
              <a:gd name="connsiteX8" fmla="*/ 7149809 w 7149809"/>
              <a:gd name="connsiteY8" fmla="*/ 2052536 h 2736950"/>
              <a:gd name="connsiteX0" fmla="*/ 0 w 7149809"/>
              <a:gd name="connsiteY0" fmla="*/ 2071991 h 2736950"/>
              <a:gd name="connsiteX1" fmla="*/ 1212480 w 7149809"/>
              <a:gd name="connsiteY1" fmla="*/ 1376465 h 2736950"/>
              <a:gd name="connsiteX2" fmla="*/ 2390661 w 7149809"/>
              <a:gd name="connsiteY2" fmla="*/ 2055218 h 2736950"/>
              <a:gd name="connsiteX3" fmla="*/ 2386051 w 7149809"/>
              <a:gd name="connsiteY3" fmla="*/ 697619 h 2736950"/>
              <a:gd name="connsiteX4" fmla="*/ 3574211 w 7149809"/>
              <a:gd name="connsiteY4" fmla="*/ 0 h 2736950"/>
              <a:gd name="connsiteX5" fmla="*/ 4765850 w 7149809"/>
              <a:gd name="connsiteY5" fmla="*/ 698321 h 2736950"/>
              <a:gd name="connsiteX6" fmla="*/ 4757508 w 7149809"/>
              <a:gd name="connsiteY6" fmla="*/ 2052536 h 2736950"/>
              <a:gd name="connsiteX7" fmla="*/ 5969305 w 7149809"/>
              <a:gd name="connsiteY7" fmla="*/ 2736950 h 2736950"/>
              <a:gd name="connsiteX8" fmla="*/ 7149809 w 7149809"/>
              <a:gd name="connsiteY8" fmla="*/ 2052536 h 2736950"/>
              <a:gd name="connsiteX0" fmla="*/ 0 w 7149809"/>
              <a:gd name="connsiteY0" fmla="*/ 2071991 h 2736950"/>
              <a:gd name="connsiteX1" fmla="*/ 1212480 w 7149809"/>
              <a:gd name="connsiteY1" fmla="*/ 1376465 h 2736950"/>
              <a:gd name="connsiteX2" fmla="*/ 2390661 w 7149809"/>
              <a:gd name="connsiteY2" fmla="*/ 2055218 h 2736950"/>
              <a:gd name="connsiteX3" fmla="*/ 2386051 w 7149809"/>
              <a:gd name="connsiteY3" fmla="*/ 697619 h 2736950"/>
              <a:gd name="connsiteX4" fmla="*/ 3574211 w 7149809"/>
              <a:gd name="connsiteY4" fmla="*/ 0 h 2736950"/>
              <a:gd name="connsiteX5" fmla="*/ 4765850 w 7149809"/>
              <a:gd name="connsiteY5" fmla="*/ 698321 h 2736950"/>
              <a:gd name="connsiteX6" fmla="*/ 4757508 w 7149809"/>
              <a:gd name="connsiteY6" fmla="*/ 2052536 h 2736950"/>
              <a:gd name="connsiteX7" fmla="*/ 5969305 w 7149809"/>
              <a:gd name="connsiteY7" fmla="*/ 2736950 h 2736950"/>
              <a:gd name="connsiteX8" fmla="*/ 7149809 w 7149809"/>
              <a:gd name="connsiteY8" fmla="*/ 2052536 h 2736950"/>
              <a:gd name="connsiteX0" fmla="*/ 0 w 7149809"/>
              <a:gd name="connsiteY0" fmla="*/ 2071991 h 2736950"/>
              <a:gd name="connsiteX1" fmla="*/ 1194700 w 7149809"/>
              <a:gd name="connsiteY1" fmla="*/ 1371385 h 2736950"/>
              <a:gd name="connsiteX2" fmla="*/ 2390661 w 7149809"/>
              <a:gd name="connsiteY2" fmla="*/ 2055218 h 2736950"/>
              <a:gd name="connsiteX3" fmla="*/ 2386051 w 7149809"/>
              <a:gd name="connsiteY3" fmla="*/ 697619 h 2736950"/>
              <a:gd name="connsiteX4" fmla="*/ 3574211 w 7149809"/>
              <a:gd name="connsiteY4" fmla="*/ 0 h 2736950"/>
              <a:gd name="connsiteX5" fmla="*/ 4765850 w 7149809"/>
              <a:gd name="connsiteY5" fmla="*/ 698321 h 2736950"/>
              <a:gd name="connsiteX6" fmla="*/ 4757508 w 7149809"/>
              <a:gd name="connsiteY6" fmla="*/ 2052536 h 2736950"/>
              <a:gd name="connsiteX7" fmla="*/ 5969305 w 7149809"/>
              <a:gd name="connsiteY7" fmla="*/ 2736950 h 2736950"/>
              <a:gd name="connsiteX8" fmla="*/ 7149809 w 7149809"/>
              <a:gd name="connsiteY8" fmla="*/ 2052536 h 2736950"/>
              <a:gd name="connsiteX0" fmla="*/ 0 w 7149809"/>
              <a:gd name="connsiteY0" fmla="*/ 2071991 h 2736950"/>
              <a:gd name="connsiteX1" fmla="*/ 1194700 w 7149809"/>
              <a:gd name="connsiteY1" fmla="*/ 1371385 h 2736950"/>
              <a:gd name="connsiteX2" fmla="*/ 2390661 w 7149809"/>
              <a:gd name="connsiteY2" fmla="*/ 2055218 h 2736950"/>
              <a:gd name="connsiteX3" fmla="*/ 2386051 w 7149809"/>
              <a:gd name="connsiteY3" fmla="*/ 697619 h 2736950"/>
              <a:gd name="connsiteX4" fmla="*/ 3574211 w 7149809"/>
              <a:gd name="connsiteY4" fmla="*/ 0 h 2736950"/>
              <a:gd name="connsiteX5" fmla="*/ 4765850 w 7149809"/>
              <a:gd name="connsiteY5" fmla="*/ 698321 h 2736950"/>
              <a:gd name="connsiteX6" fmla="*/ 4757508 w 7149809"/>
              <a:gd name="connsiteY6" fmla="*/ 2052536 h 2736950"/>
              <a:gd name="connsiteX7" fmla="*/ 5969305 w 7149809"/>
              <a:gd name="connsiteY7" fmla="*/ 2736950 h 2736950"/>
              <a:gd name="connsiteX8" fmla="*/ 7149809 w 7149809"/>
              <a:gd name="connsiteY8" fmla="*/ 2052536 h 2736950"/>
              <a:gd name="connsiteX0" fmla="*/ 0 w 7149809"/>
              <a:gd name="connsiteY0" fmla="*/ 2071991 h 2736950"/>
              <a:gd name="connsiteX1" fmla="*/ 1194700 w 7149809"/>
              <a:gd name="connsiteY1" fmla="*/ 1371385 h 2736950"/>
              <a:gd name="connsiteX2" fmla="*/ 2390661 w 7149809"/>
              <a:gd name="connsiteY2" fmla="*/ 2055218 h 2736950"/>
              <a:gd name="connsiteX3" fmla="*/ 2386051 w 7149809"/>
              <a:gd name="connsiteY3" fmla="*/ 697619 h 2736950"/>
              <a:gd name="connsiteX4" fmla="*/ 3574211 w 7149809"/>
              <a:gd name="connsiteY4" fmla="*/ 0 h 2736950"/>
              <a:gd name="connsiteX5" fmla="*/ 4765850 w 7149809"/>
              <a:gd name="connsiteY5" fmla="*/ 698321 h 2736950"/>
              <a:gd name="connsiteX6" fmla="*/ 4757508 w 7149809"/>
              <a:gd name="connsiteY6" fmla="*/ 2052536 h 2736950"/>
              <a:gd name="connsiteX7" fmla="*/ 5969305 w 7149809"/>
              <a:gd name="connsiteY7" fmla="*/ 2736950 h 2736950"/>
              <a:gd name="connsiteX8" fmla="*/ 7149809 w 7149809"/>
              <a:gd name="connsiteY8" fmla="*/ 2052536 h 2736950"/>
              <a:gd name="connsiteX0" fmla="*/ 0 w 7149809"/>
              <a:gd name="connsiteY0" fmla="*/ 2071991 h 2736950"/>
              <a:gd name="connsiteX1" fmla="*/ 1194700 w 7149809"/>
              <a:gd name="connsiteY1" fmla="*/ 1371385 h 2736950"/>
              <a:gd name="connsiteX2" fmla="*/ 2390661 w 7149809"/>
              <a:gd name="connsiteY2" fmla="*/ 2055218 h 2736950"/>
              <a:gd name="connsiteX3" fmla="*/ 2386051 w 7149809"/>
              <a:gd name="connsiteY3" fmla="*/ 697619 h 2736950"/>
              <a:gd name="connsiteX4" fmla="*/ 3574211 w 7149809"/>
              <a:gd name="connsiteY4" fmla="*/ 0 h 2736950"/>
              <a:gd name="connsiteX5" fmla="*/ 4765850 w 7149809"/>
              <a:gd name="connsiteY5" fmla="*/ 698321 h 2736950"/>
              <a:gd name="connsiteX6" fmla="*/ 4757508 w 7149809"/>
              <a:gd name="connsiteY6" fmla="*/ 2052536 h 2736950"/>
              <a:gd name="connsiteX7" fmla="*/ 5969305 w 7149809"/>
              <a:gd name="connsiteY7" fmla="*/ 2736950 h 2736950"/>
              <a:gd name="connsiteX8" fmla="*/ 7149809 w 7149809"/>
              <a:gd name="connsiteY8" fmla="*/ 2052536 h 2736950"/>
              <a:gd name="connsiteX0" fmla="*/ 0 w 7149809"/>
              <a:gd name="connsiteY0" fmla="*/ 2071991 h 2736950"/>
              <a:gd name="connsiteX1" fmla="*/ 1194700 w 7149809"/>
              <a:gd name="connsiteY1" fmla="*/ 1371385 h 2736950"/>
              <a:gd name="connsiteX2" fmla="*/ 2390661 w 7149809"/>
              <a:gd name="connsiteY2" fmla="*/ 2055218 h 2736950"/>
              <a:gd name="connsiteX3" fmla="*/ 2386051 w 7149809"/>
              <a:gd name="connsiteY3" fmla="*/ 697619 h 2736950"/>
              <a:gd name="connsiteX4" fmla="*/ 3574211 w 7149809"/>
              <a:gd name="connsiteY4" fmla="*/ 0 h 2736950"/>
              <a:gd name="connsiteX5" fmla="*/ 4765850 w 7149809"/>
              <a:gd name="connsiteY5" fmla="*/ 698321 h 2736950"/>
              <a:gd name="connsiteX6" fmla="*/ 4757508 w 7149809"/>
              <a:gd name="connsiteY6" fmla="*/ 2052536 h 2736950"/>
              <a:gd name="connsiteX7" fmla="*/ 5969305 w 7149809"/>
              <a:gd name="connsiteY7" fmla="*/ 2736950 h 2736950"/>
              <a:gd name="connsiteX8" fmla="*/ 7149809 w 7149809"/>
              <a:gd name="connsiteY8" fmla="*/ 2052536 h 2736950"/>
              <a:gd name="connsiteX0" fmla="*/ 0 w 7149809"/>
              <a:gd name="connsiteY0" fmla="*/ 2071991 h 2736950"/>
              <a:gd name="connsiteX1" fmla="*/ 1194700 w 7149809"/>
              <a:gd name="connsiteY1" fmla="*/ 1371385 h 2736950"/>
              <a:gd name="connsiteX2" fmla="*/ 2390661 w 7149809"/>
              <a:gd name="connsiteY2" fmla="*/ 2055218 h 2736950"/>
              <a:gd name="connsiteX3" fmla="*/ 2386051 w 7149809"/>
              <a:gd name="connsiteY3" fmla="*/ 697619 h 2736950"/>
              <a:gd name="connsiteX4" fmla="*/ 3574211 w 7149809"/>
              <a:gd name="connsiteY4" fmla="*/ 0 h 2736950"/>
              <a:gd name="connsiteX5" fmla="*/ 4758230 w 7149809"/>
              <a:gd name="connsiteY5" fmla="*/ 698321 h 2736950"/>
              <a:gd name="connsiteX6" fmla="*/ 4757508 w 7149809"/>
              <a:gd name="connsiteY6" fmla="*/ 2052536 h 2736950"/>
              <a:gd name="connsiteX7" fmla="*/ 5969305 w 7149809"/>
              <a:gd name="connsiteY7" fmla="*/ 2736950 h 2736950"/>
              <a:gd name="connsiteX8" fmla="*/ 7149809 w 7149809"/>
              <a:gd name="connsiteY8" fmla="*/ 2052536 h 2736950"/>
              <a:gd name="connsiteX0" fmla="*/ 0 w 7149809"/>
              <a:gd name="connsiteY0" fmla="*/ 2071991 h 2736950"/>
              <a:gd name="connsiteX1" fmla="*/ 1194700 w 7149809"/>
              <a:gd name="connsiteY1" fmla="*/ 1371385 h 2736950"/>
              <a:gd name="connsiteX2" fmla="*/ 2390661 w 7149809"/>
              <a:gd name="connsiteY2" fmla="*/ 2055218 h 2736950"/>
              <a:gd name="connsiteX3" fmla="*/ 2386051 w 7149809"/>
              <a:gd name="connsiteY3" fmla="*/ 697619 h 2736950"/>
              <a:gd name="connsiteX4" fmla="*/ 3574211 w 7149809"/>
              <a:gd name="connsiteY4" fmla="*/ 0 h 2736950"/>
              <a:gd name="connsiteX5" fmla="*/ 4770930 w 7149809"/>
              <a:gd name="connsiteY5" fmla="*/ 698321 h 2736950"/>
              <a:gd name="connsiteX6" fmla="*/ 4757508 w 7149809"/>
              <a:gd name="connsiteY6" fmla="*/ 2052536 h 2736950"/>
              <a:gd name="connsiteX7" fmla="*/ 5969305 w 7149809"/>
              <a:gd name="connsiteY7" fmla="*/ 2736950 h 2736950"/>
              <a:gd name="connsiteX8" fmla="*/ 7149809 w 7149809"/>
              <a:gd name="connsiteY8" fmla="*/ 2052536 h 2736950"/>
              <a:gd name="connsiteX0" fmla="*/ 0 w 7149809"/>
              <a:gd name="connsiteY0" fmla="*/ 2071991 h 2736950"/>
              <a:gd name="connsiteX1" fmla="*/ 1194700 w 7149809"/>
              <a:gd name="connsiteY1" fmla="*/ 1371385 h 2736950"/>
              <a:gd name="connsiteX2" fmla="*/ 2390661 w 7149809"/>
              <a:gd name="connsiteY2" fmla="*/ 2055218 h 2736950"/>
              <a:gd name="connsiteX3" fmla="*/ 2386051 w 7149809"/>
              <a:gd name="connsiteY3" fmla="*/ 697619 h 2736950"/>
              <a:gd name="connsiteX4" fmla="*/ 3574211 w 7149809"/>
              <a:gd name="connsiteY4" fmla="*/ 0 h 2736950"/>
              <a:gd name="connsiteX5" fmla="*/ 4770930 w 7149809"/>
              <a:gd name="connsiteY5" fmla="*/ 698321 h 2736950"/>
              <a:gd name="connsiteX6" fmla="*/ 4757508 w 7149809"/>
              <a:gd name="connsiteY6" fmla="*/ 2047456 h 2736950"/>
              <a:gd name="connsiteX7" fmla="*/ 5969305 w 7149809"/>
              <a:gd name="connsiteY7" fmla="*/ 2736950 h 2736950"/>
              <a:gd name="connsiteX8" fmla="*/ 7149809 w 7149809"/>
              <a:gd name="connsiteY8" fmla="*/ 2052536 h 2736950"/>
              <a:gd name="connsiteX0" fmla="*/ 0 w 7152768"/>
              <a:gd name="connsiteY0" fmla="*/ 2063113 h 2736950"/>
              <a:gd name="connsiteX1" fmla="*/ 1197659 w 7152768"/>
              <a:gd name="connsiteY1" fmla="*/ 1371385 h 2736950"/>
              <a:gd name="connsiteX2" fmla="*/ 2393620 w 7152768"/>
              <a:gd name="connsiteY2" fmla="*/ 2055218 h 2736950"/>
              <a:gd name="connsiteX3" fmla="*/ 2389010 w 7152768"/>
              <a:gd name="connsiteY3" fmla="*/ 697619 h 2736950"/>
              <a:gd name="connsiteX4" fmla="*/ 3577170 w 7152768"/>
              <a:gd name="connsiteY4" fmla="*/ 0 h 2736950"/>
              <a:gd name="connsiteX5" fmla="*/ 4773889 w 7152768"/>
              <a:gd name="connsiteY5" fmla="*/ 698321 h 2736950"/>
              <a:gd name="connsiteX6" fmla="*/ 4760467 w 7152768"/>
              <a:gd name="connsiteY6" fmla="*/ 2047456 h 2736950"/>
              <a:gd name="connsiteX7" fmla="*/ 5972264 w 7152768"/>
              <a:gd name="connsiteY7" fmla="*/ 2736950 h 2736950"/>
              <a:gd name="connsiteX8" fmla="*/ 7152768 w 7152768"/>
              <a:gd name="connsiteY8" fmla="*/ 2052536 h 2736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152768" h="2736950">
                <a:moveTo>
                  <a:pt x="0" y="2063113"/>
                </a:moveTo>
                <a:cubicBezTo>
                  <a:pt x="405781" y="1831271"/>
                  <a:pt x="752967" y="1616359"/>
                  <a:pt x="1197659" y="1371385"/>
                </a:cubicBezTo>
                <a:lnTo>
                  <a:pt x="2393620" y="2055218"/>
                </a:lnTo>
                <a:cubicBezTo>
                  <a:pt x="2396863" y="1599639"/>
                  <a:pt x="2385767" y="1153198"/>
                  <a:pt x="2389010" y="697619"/>
                </a:cubicBezTo>
                <a:lnTo>
                  <a:pt x="3577170" y="0"/>
                </a:lnTo>
                <a:lnTo>
                  <a:pt x="4773889" y="698321"/>
                </a:lnTo>
                <a:cubicBezTo>
                  <a:pt x="4772268" y="1155521"/>
                  <a:pt x="4762088" y="1590256"/>
                  <a:pt x="4760467" y="2047456"/>
                </a:cubicBezTo>
                <a:lnTo>
                  <a:pt x="5972264" y="2736950"/>
                </a:lnTo>
                <a:lnTo>
                  <a:pt x="7152768" y="2052536"/>
                </a:lnTo>
              </a:path>
            </a:pathLst>
          </a:custGeom>
          <a:noFill/>
          <a:ln w="38100" cap="flat" cmpd="sng" algn="ctr">
            <a:gradFill flip="none" rotWithShape="1">
              <a:gsLst>
                <a:gs pos="38000">
                  <a:srgbClr val="E95174"/>
                </a:gs>
                <a:gs pos="100000">
                  <a:srgbClr val="00E0D0"/>
                </a:gs>
              </a:gsLst>
              <a:lin ang="0" scaled="1"/>
              <a:tileRect/>
            </a:gradFill>
            <a:prstDash val="solid"/>
            <a:miter lim="800000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Posterama Text SemiBold"/>
              <a:ea typeface="+mn-ea"/>
              <a:cs typeface="+mn-cs"/>
            </a:endParaRPr>
          </a:p>
        </p:txBody>
      </p:sp>
      <p:sp>
        <p:nvSpPr>
          <p:cNvPr id="72" name="Freeform: Shape 31">
            <a:extLst>
              <a:ext uri="{FF2B5EF4-FFF2-40B4-BE49-F238E27FC236}">
                <a16:creationId xmlns:a16="http://schemas.microsoft.com/office/drawing/2014/main" id="{274DD645-8640-45D5-9B60-F31EC01D3CC0}"/>
              </a:ext>
            </a:extLst>
          </p:cNvPr>
          <p:cNvSpPr/>
          <p:nvPr userDrawn="1"/>
        </p:nvSpPr>
        <p:spPr>
          <a:xfrm>
            <a:off x="8412404" y="1667950"/>
            <a:ext cx="2373549" cy="2062264"/>
          </a:xfrm>
          <a:custGeom>
            <a:avLst/>
            <a:gdLst>
              <a:gd name="connsiteX0" fmla="*/ 2373549 w 2373549"/>
              <a:gd name="connsiteY0" fmla="*/ 680936 h 2062264"/>
              <a:gd name="connsiteX1" fmla="*/ 1186774 w 2373549"/>
              <a:gd name="connsiteY1" fmla="*/ 0 h 2062264"/>
              <a:gd name="connsiteX2" fmla="*/ 0 w 2373549"/>
              <a:gd name="connsiteY2" fmla="*/ 690664 h 2062264"/>
              <a:gd name="connsiteX3" fmla="*/ 0 w 2373549"/>
              <a:gd name="connsiteY3" fmla="*/ 2062264 h 2062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73549" h="2062264">
                <a:moveTo>
                  <a:pt x="2373549" y="680936"/>
                </a:moveTo>
                <a:lnTo>
                  <a:pt x="1186774" y="0"/>
                </a:lnTo>
                <a:lnTo>
                  <a:pt x="0" y="690664"/>
                </a:lnTo>
                <a:lnTo>
                  <a:pt x="0" y="2062264"/>
                </a:lnTo>
              </a:path>
            </a:pathLst>
          </a:custGeom>
          <a:noFill/>
          <a:ln w="38100" cap="flat" cmpd="sng" algn="ctr">
            <a:gradFill>
              <a:gsLst>
                <a:gs pos="100000">
                  <a:srgbClr val="4BBBC4"/>
                </a:gs>
                <a:gs pos="20000">
                  <a:srgbClr val="53FFF3"/>
                </a:gs>
              </a:gsLst>
              <a:lin ang="5400000" scaled="1"/>
            </a:gradFill>
            <a:prstDash val="solid"/>
            <a:miter lim="800000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Posterama Text SemiBold"/>
              <a:ea typeface="+mn-ea"/>
              <a:cs typeface="+mn-cs"/>
            </a:endParaRPr>
          </a:p>
        </p:txBody>
      </p:sp>
      <p:sp>
        <p:nvSpPr>
          <p:cNvPr id="73" name="Freeform: Shape 34">
            <a:extLst>
              <a:ext uri="{FF2B5EF4-FFF2-40B4-BE49-F238E27FC236}">
                <a16:creationId xmlns:a16="http://schemas.microsoft.com/office/drawing/2014/main" id="{71C09F09-7119-47FD-8E60-E4A92C9A3119}"/>
              </a:ext>
            </a:extLst>
          </p:cNvPr>
          <p:cNvSpPr/>
          <p:nvPr userDrawn="1"/>
        </p:nvSpPr>
        <p:spPr>
          <a:xfrm flipH="1">
            <a:off x="10715501" y="2243467"/>
            <a:ext cx="204312" cy="236468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  <a:gd name="connsiteX0" fmla="*/ 2187388 w 4387647"/>
              <a:gd name="connsiteY0" fmla="*/ 0 h 5032188"/>
              <a:gd name="connsiteX1" fmla="*/ 4386729 w 4387647"/>
              <a:gd name="connsiteY1" fmla="*/ 1261035 h 5032188"/>
              <a:gd name="connsiteX2" fmla="*/ 4384192 w 4387647"/>
              <a:gd name="connsiteY2" fmla="*/ 3783287 h 5032188"/>
              <a:gd name="connsiteX3" fmla="*/ 2193365 w 4387647"/>
              <a:gd name="connsiteY3" fmla="*/ 5032188 h 5032188"/>
              <a:gd name="connsiteX4" fmla="*/ 0 w 4387647"/>
              <a:gd name="connsiteY4" fmla="*/ 3783106 h 5032188"/>
              <a:gd name="connsiteX5" fmla="*/ 0 w 4387647"/>
              <a:gd name="connsiteY5" fmla="*/ 1267012 h 5032188"/>
              <a:gd name="connsiteX6" fmla="*/ 2187388 w 4387647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87647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80208" y="2940604"/>
                  <a:pt x="4384192" y="3783287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solidFill>
            <a:schemeClr val="accent6">
              <a:lumMod val="10000"/>
              <a:lumOff val="9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Posterama Text SemiBold"/>
              <a:ea typeface="+mn-ea"/>
              <a:cs typeface="+mn-cs"/>
            </a:endParaRPr>
          </a:p>
        </p:txBody>
      </p:sp>
      <p:sp>
        <p:nvSpPr>
          <p:cNvPr id="74" name="Freeform: Shape 45">
            <a:extLst>
              <a:ext uri="{FF2B5EF4-FFF2-40B4-BE49-F238E27FC236}">
                <a16:creationId xmlns:a16="http://schemas.microsoft.com/office/drawing/2014/main" id="{E99BCE04-19B9-4541-925F-AC59CF760E7F}"/>
              </a:ext>
            </a:extLst>
          </p:cNvPr>
          <p:cNvSpPr/>
          <p:nvPr userDrawn="1"/>
        </p:nvSpPr>
        <p:spPr>
          <a:xfrm flipH="1">
            <a:off x="9534557" y="1571099"/>
            <a:ext cx="204312" cy="236468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  <a:gd name="connsiteX0" fmla="*/ 2187388 w 4387647"/>
              <a:gd name="connsiteY0" fmla="*/ 0 h 5032188"/>
              <a:gd name="connsiteX1" fmla="*/ 4386729 w 4387647"/>
              <a:gd name="connsiteY1" fmla="*/ 1261035 h 5032188"/>
              <a:gd name="connsiteX2" fmla="*/ 4384192 w 4387647"/>
              <a:gd name="connsiteY2" fmla="*/ 3783287 h 5032188"/>
              <a:gd name="connsiteX3" fmla="*/ 2193365 w 4387647"/>
              <a:gd name="connsiteY3" fmla="*/ 5032188 h 5032188"/>
              <a:gd name="connsiteX4" fmla="*/ 0 w 4387647"/>
              <a:gd name="connsiteY4" fmla="*/ 3783106 h 5032188"/>
              <a:gd name="connsiteX5" fmla="*/ 0 w 4387647"/>
              <a:gd name="connsiteY5" fmla="*/ 1267012 h 5032188"/>
              <a:gd name="connsiteX6" fmla="*/ 2187388 w 4387647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87647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80208" y="2940604"/>
                  <a:pt x="4384192" y="3783287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solidFill>
            <a:schemeClr val="accent6">
              <a:lumMod val="10000"/>
              <a:lumOff val="9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Posterama Text SemiBold"/>
              <a:ea typeface="+mn-ea"/>
              <a:cs typeface="+mn-cs"/>
            </a:endParaRPr>
          </a:p>
        </p:txBody>
      </p:sp>
      <p:sp>
        <p:nvSpPr>
          <p:cNvPr id="75" name="Freeform: Shape 46">
            <a:extLst>
              <a:ext uri="{FF2B5EF4-FFF2-40B4-BE49-F238E27FC236}">
                <a16:creationId xmlns:a16="http://schemas.microsoft.com/office/drawing/2014/main" id="{F2B610BB-26F6-44A5-B7DB-CEEDCAE916ED}"/>
              </a:ext>
            </a:extLst>
          </p:cNvPr>
          <p:cNvSpPr/>
          <p:nvPr userDrawn="1"/>
        </p:nvSpPr>
        <p:spPr>
          <a:xfrm flipH="1">
            <a:off x="8328171" y="2258376"/>
            <a:ext cx="204312" cy="236468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  <a:gd name="connsiteX0" fmla="*/ 2187388 w 4387647"/>
              <a:gd name="connsiteY0" fmla="*/ 0 h 5032188"/>
              <a:gd name="connsiteX1" fmla="*/ 4386729 w 4387647"/>
              <a:gd name="connsiteY1" fmla="*/ 1261035 h 5032188"/>
              <a:gd name="connsiteX2" fmla="*/ 4384192 w 4387647"/>
              <a:gd name="connsiteY2" fmla="*/ 3783287 h 5032188"/>
              <a:gd name="connsiteX3" fmla="*/ 2193365 w 4387647"/>
              <a:gd name="connsiteY3" fmla="*/ 5032188 h 5032188"/>
              <a:gd name="connsiteX4" fmla="*/ 0 w 4387647"/>
              <a:gd name="connsiteY4" fmla="*/ 3783106 h 5032188"/>
              <a:gd name="connsiteX5" fmla="*/ 0 w 4387647"/>
              <a:gd name="connsiteY5" fmla="*/ 1267012 h 5032188"/>
              <a:gd name="connsiteX6" fmla="*/ 2187388 w 4387647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87647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80208" y="2940604"/>
                  <a:pt x="4384192" y="3783287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solidFill>
            <a:schemeClr val="accent6">
              <a:lumMod val="10000"/>
              <a:lumOff val="9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Posterama Text SemiBold"/>
              <a:ea typeface="+mn-ea"/>
              <a:cs typeface="+mn-cs"/>
            </a:endParaRPr>
          </a:p>
        </p:txBody>
      </p:sp>
      <p:sp>
        <p:nvSpPr>
          <p:cNvPr id="76" name="Freeform: Shape 47">
            <a:extLst>
              <a:ext uri="{FF2B5EF4-FFF2-40B4-BE49-F238E27FC236}">
                <a16:creationId xmlns:a16="http://schemas.microsoft.com/office/drawing/2014/main" id="{C979636C-DE09-47B7-8972-BAE28DFA91DF}"/>
              </a:ext>
            </a:extLst>
          </p:cNvPr>
          <p:cNvSpPr/>
          <p:nvPr userDrawn="1"/>
        </p:nvSpPr>
        <p:spPr>
          <a:xfrm flipH="1">
            <a:off x="8333460" y="3610854"/>
            <a:ext cx="204312" cy="236468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  <a:gd name="connsiteX0" fmla="*/ 2187388 w 4387647"/>
              <a:gd name="connsiteY0" fmla="*/ 0 h 5032188"/>
              <a:gd name="connsiteX1" fmla="*/ 4386729 w 4387647"/>
              <a:gd name="connsiteY1" fmla="*/ 1261035 h 5032188"/>
              <a:gd name="connsiteX2" fmla="*/ 4384192 w 4387647"/>
              <a:gd name="connsiteY2" fmla="*/ 3783287 h 5032188"/>
              <a:gd name="connsiteX3" fmla="*/ 2193365 w 4387647"/>
              <a:gd name="connsiteY3" fmla="*/ 5032188 h 5032188"/>
              <a:gd name="connsiteX4" fmla="*/ 0 w 4387647"/>
              <a:gd name="connsiteY4" fmla="*/ 3783106 h 5032188"/>
              <a:gd name="connsiteX5" fmla="*/ 0 w 4387647"/>
              <a:gd name="connsiteY5" fmla="*/ 1267012 h 5032188"/>
              <a:gd name="connsiteX6" fmla="*/ 2187388 w 4387647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87647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80208" y="2940604"/>
                  <a:pt x="4384192" y="3783287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solidFill>
            <a:schemeClr val="accent6">
              <a:lumMod val="10000"/>
              <a:lumOff val="9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Posterama Text SemiBold"/>
              <a:ea typeface="+mn-ea"/>
              <a:cs typeface="+mn-cs"/>
            </a:endParaRPr>
          </a:p>
        </p:txBody>
      </p:sp>
      <p:sp>
        <p:nvSpPr>
          <p:cNvPr id="77" name="Freeform: Shape 48">
            <a:extLst>
              <a:ext uri="{FF2B5EF4-FFF2-40B4-BE49-F238E27FC236}">
                <a16:creationId xmlns:a16="http://schemas.microsoft.com/office/drawing/2014/main" id="{01B12467-C508-4D89-94B3-6D23C6199703}"/>
              </a:ext>
            </a:extLst>
          </p:cNvPr>
          <p:cNvSpPr/>
          <p:nvPr userDrawn="1"/>
        </p:nvSpPr>
        <p:spPr>
          <a:xfrm flipH="1">
            <a:off x="7146016" y="4290860"/>
            <a:ext cx="204312" cy="236468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  <a:gd name="connsiteX0" fmla="*/ 2187388 w 4387647"/>
              <a:gd name="connsiteY0" fmla="*/ 0 h 5032188"/>
              <a:gd name="connsiteX1" fmla="*/ 4386729 w 4387647"/>
              <a:gd name="connsiteY1" fmla="*/ 1261035 h 5032188"/>
              <a:gd name="connsiteX2" fmla="*/ 4384192 w 4387647"/>
              <a:gd name="connsiteY2" fmla="*/ 3783287 h 5032188"/>
              <a:gd name="connsiteX3" fmla="*/ 2193365 w 4387647"/>
              <a:gd name="connsiteY3" fmla="*/ 5032188 h 5032188"/>
              <a:gd name="connsiteX4" fmla="*/ 0 w 4387647"/>
              <a:gd name="connsiteY4" fmla="*/ 3783106 h 5032188"/>
              <a:gd name="connsiteX5" fmla="*/ 0 w 4387647"/>
              <a:gd name="connsiteY5" fmla="*/ 1267012 h 5032188"/>
              <a:gd name="connsiteX6" fmla="*/ 2187388 w 4387647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87647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80208" y="2940604"/>
                  <a:pt x="4384192" y="3783287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solidFill>
            <a:schemeClr val="accent6">
              <a:lumMod val="10000"/>
              <a:lumOff val="9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Posterama Text SemiBold"/>
              <a:ea typeface="+mn-ea"/>
              <a:cs typeface="+mn-cs"/>
            </a:endParaRPr>
          </a:p>
        </p:txBody>
      </p:sp>
      <p:sp>
        <p:nvSpPr>
          <p:cNvPr id="78" name="Freeform: Shape 49">
            <a:extLst>
              <a:ext uri="{FF2B5EF4-FFF2-40B4-BE49-F238E27FC236}">
                <a16:creationId xmlns:a16="http://schemas.microsoft.com/office/drawing/2014/main" id="{9EA72422-90A8-454F-8133-112CD2B85BEA}"/>
              </a:ext>
            </a:extLst>
          </p:cNvPr>
          <p:cNvSpPr/>
          <p:nvPr userDrawn="1"/>
        </p:nvSpPr>
        <p:spPr>
          <a:xfrm flipH="1">
            <a:off x="5937847" y="3613390"/>
            <a:ext cx="204312" cy="236468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  <a:gd name="connsiteX0" fmla="*/ 2187388 w 4387647"/>
              <a:gd name="connsiteY0" fmla="*/ 0 h 5032188"/>
              <a:gd name="connsiteX1" fmla="*/ 4386729 w 4387647"/>
              <a:gd name="connsiteY1" fmla="*/ 1261035 h 5032188"/>
              <a:gd name="connsiteX2" fmla="*/ 4384192 w 4387647"/>
              <a:gd name="connsiteY2" fmla="*/ 3783287 h 5032188"/>
              <a:gd name="connsiteX3" fmla="*/ 2193365 w 4387647"/>
              <a:gd name="connsiteY3" fmla="*/ 5032188 h 5032188"/>
              <a:gd name="connsiteX4" fmla="*/ 0 w 4387647"/>
              <a:gd name="connsiteY4" fmla="*/ 3783106 h 5032188"/>
              <a:gd name="connsiteX5" fmla="*/ 0 w 4387647"/>
              <a:gd name="connsiteY5" fmla="*/ 1267012 h 5032188"/>
              <a:gd name="connsiteX6" fmla="*/ 2187388 w 4387647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87647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80208" y="2940604"/>
                  <a:pt x="4384192" y="3783287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solidFill>
            <a:schemeClr val="accent6">
              <a:lumMod val="10000"/>
              <a:lumOff val="9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Posterama Text SemiBold"/>
              <a:ea typeface="+mn-ea"/>
              <a:cs typeface="+mn-cs"/>
            </a:endParaRPr>
          </a:p>
        </p:txBody>
      </p:sp>
      <p:sp>
        <p:nvSpPr>
          <p:cNvPr id="79" name="Freeform: Shape 50">
            <a:extLst>
              <a:ext uri="{FF2B5EF4-FFF2-40B4-BE49-F238E27FC236}">
                <a16:creationId xmlns:a16="http://schemas.microsoft.com/office/drawing/2014/main" id="{3C67727D-D0D9-4CA6-99EE-0B89D465A706}"/>
              </a:ext>
            </a:extLst>
          </p:cNvPr>
          <p:cNvSpPr/>
          <p:nvPr userDrawn="1"/>
        </p:nvSpPr>
        <p:spPr>
          <a:xfrm flipH="1">
            <a:off x="5951993" y="2251300"/>
            <a:ext cx="204312" cy="236468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  <a:gd name="connsiteX0" fmla="*/ 2187388 w 4387647"/>
              <a:gd name="connsiteY0" fmla="*/ 0 h 5032188"/>
              <a:gd name="connsiteX1" fmla="*/ 4386729 w 4387647"/>
              <a:gd name="connsiteY1" fmla="*/ 1261035 h 5032188"/>
              <a:gd name="connsiteX2" fmla="*/ 4384192 w 4387647"/>
              <a:gd name="connsiteY2" fmla="*/ 3783287 h 5032188"/>
              <a:gd name="connsiteX3" fmla="*/ 2193365 w 4387647"/>
              <a:gd name="connsiteY3" fmla="*/ 5032188 h 5032188"/>
              <a:gd name="connsiteX4" fmla="*/ 0 w 4387647"/>
              <a:gd name="connsiteY4" fmla="*/ 3783106 h 5032188"/>
              <a:gd name="connsiteX5" fmla="*/ 0 w 4387647"/>
              <a:gd name="connsiteY5" fmla="*/ 1267012 h 5032188"/>
              <a:gd name="connsiteX6" fmla="*/ 2187388 w 4387647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87647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80208" y="2940604"/>
                  <a:pt x="4384192" y="3783287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solidFill>
            <a:schemeClr val="accent6">
              <a:lumMod val="10000"/>
              <a:lumOff val="9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Posterama Text SemiBold"/>
              <a:ea typeface="+mn-ea"/>
              <a:cs typeface="+mn-cs"/>
            </a:endParaRPr>
          </a:p>
        </p:txBody>
      </p:sp>
      <p:sp>
        <p:nvSpPr>
          <p:cNvPr id="80" name="Freeform: Shape 51">
            <a:extLst>
              <a:ext uri="{FF2B5EF4-FFF2-40B4-BE49-F238E27FC236}">
                <a16:creationId xmlns:a16="http://schemas.microsoft.com/office/drawing/2014/main" id="{C88A67D0-B01F-4CC8-B248-2CF85911F456}"/>
              </a:ext>
            </a:extLst>
          </p:cNvPr>
          <p:cNvSpPr/>
          <p:nvPr userDrawn="1"/>
        </p:nvSpPr>
        <p:spPr>
          <a:xfrm flipH="1">
            <a:off x="4778156" y="1565771"/>
            <a:ext cx="204312" cy="236468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  <a:gd name="connsiteX0" fmla="*/ 2187388 w 4387647"/>
              <a:gd name="connsiteY0" fmla="*/ 0 h 5032188"/>
              <a:gd name="connsiteX1" fmla="*/ 4386729 w 4387647"/>
              <a:gd name="connsiteY1" fmla="*/ 1261035 h 5032188"/>
              <a:gd name="connsiteX2" fmla="*/ 4384192 w 4387647"/>
              <a:gd name="connsiteY2" fmla="*/ 3783287 h 5032188"/>
              <a:gd name="connsiteX3" fmla="*/ 2193365 w 4387647"/>
              <a:gd name="connsiteY3" fmla="*/ 5032188 h 5032188"/>
              <a:gd name="connsiteX4" fmla="*/ 0 w 4387647"/>
              <a:gd name="connsiteY4" fmla="*/ 3783106 h 5032188"/>
              <a:gd name="connsiteX5" fmla="*/ 0 w 4387647"/>
              <a:gd name="connsiteY5" fmla="*/ 1267012 h 5032188"/>
              <a:gd name="connsiteX6" fmla="*/ 2187388 w 4387647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87647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80208" y="2940604"/>
                  <a:pt x="4384192" y="3783287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solidFill>
            <a:schemeClr val="accent6">
              <a:lumMod val="10000"/>
              <a:lumOff val="9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Posterama Text SemiBold"/>
              <a:ea typeface="+mn-ea"/>
              <a:cs typeface="+mn-cs"/>
            </a:endParaRPr>
          </a:p>
        </p:txBody>
      </p:sp>
      <p:sp>
        <p:nvSpPr>
          <p:cNvPr id="81" name="Freeform: Shape 52">
            <a:extLst>
              <a:ext uri="{FF2B5EF4-FFF2-40B4-BE49-F238E27FC236}">
                <a16:creationId xmlns:a16="http://schemas.microsoft.com/office/drawing/2014/main" id="{DBF6CA39-E979-4287-833E-20A9B455F7D6}"/>
              </a:ext>
            </a:extLst>
          </p:cNvPr>
          <p:cNvSpPr/>
          <p:nvPr userDrawn="1"/>
        </p:nvSpPr>
        <p:spPr>
          <a:xfrm flipH="1">
            <a:off x="3565843" y="2247823"/>
            <a:ext cx="204312" cy="236468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  <a:gd name="connsiteX0" fmla="*/ 2187388 w 4387647"/>
              <a:gd name="connsiteY0" fmla="*/ 0 h 5032188"/>
              <a:gd name="connsiteX1" fmla="*/ 4386729 w 4387647"/>
              <a:gd name="connsiteY1" fmla="*/ 1261035 h 5032188"/>
              <a:gd name="connsiteX2" fmla="*/ 4384192 w 4387647"/>
              <a:gd name="connsiteY2" fmla="*/ 3783287 h 5032188"/>
              <a:gd name="connsiteX3" fmla="*/ 2193365 w 4387647"/>
              <a:gd name="connsiteY3" fmla="*/ 5032188 h 5032188"/>
              <a:gd name="connsiteX4" fmla="*/ 0 w 4387647"/>
              <a:gd name="connsiteY4" fmla="*/ 3783106 h 5032188"/>
              <a:gd name="connsiteX5" fmla="*/ 0 w 4387647"/>
              <a:gd name="connsiteY5" fmla="*/ 1267012 h 5032188"/>
              <a:gd name="connsiteX6" fmla="*/ 2187388 w 4387647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87647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80208" y="2940604"/>
                  <a:pt x="4384192" y="3783287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solidFill>
            <a:schemeClr val="accent6">
              <a:lumMod val="10000"/>
              <a:lumOff val="9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Posterama Text SemiBold"/>
              <a:ea typeface="+mn-ea"/>
              <a:cs typeface="+mn-cs"/>
            </a:endParaRPr>
          </a:p>
        </p:txBody>
      </p:sp>
      <p:sp>
        <p:nvSpPr>
          <p:cNvPr id="82" name="Freeform: Shape 53">
            <a:extLst>
              <a:ext uri="{FF2B5EF4-FFF2-40B4-BE49-F238E27FC236}">
                <a16:creationId xmlns:a16="http://schemas.microsoft.com/office/drawing/2014/main" id="{9EAA4E60-7510-4920-A426-5630491CFAC2}"/>
              </a:ext>
            </a:extLst>
          </p:cNvPr>
          <p:cNvSpPr/>
          <p:nvPr userDrawn="1"/>
        </p:nvSpPr>
        <p:spPr>
          <a:xfrm flipH="1">
            <a:off x="3565952" y="3613390"/>
            <a:ext cx="204312" cy="236468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  <a:gd name="connsiteX0" fmla="*/ 2187388 w 4387647"/>
              <a:gd name="connsiteY0" fmla="*/ 0 h 5032188"/>
              <a:gd name="connsiteX1" fmla="*/ 4386729 w 4387647"/>
              <a:gd name="connsiteY1" fmla="*/ 1261035 h 5032188"/>
              <a:gd name="connsiteX2" fmla="*/ 4384192 w 4387647"/>
              <a:gd name="connsiteY2" fmla="*/ 3783287 h 5032188"/>
              <a:gd name="connsiteX3" fmla="*/ 2193365 w 4387647"/>
              <a:gd name="connsiteY3" fmla="*/ 5032188 h 5032188"/>
              <a:gd name="connsiteX4" fmla="*/ 0 w 4387647"/>
              <a:gd name="connsiteY4" fmla="*/ 3783106 h 5032188"/>
              <a:gd name="connsiteX5" fmla="*/ 0 w 4387647"/>
              <a:gd name="connsiteY5" fmla="*/ 1267012 h 5032188"/>
              <a:gd name="connsiteX6" fmla="*/ 2187388 w 4387647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87647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80208" y="2940604"/>
                  <a:pt x="4384192" y="3783287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solidFill>
            <a:schemeClr val="accent6">
              <a:lumMod val="10000"/>
              <a:lumOff val="9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Posterama Text SemiBold"/>
              <a:ea typeface="+mn-ea"/>
              <a:cs typeface="+mn-cs"/>
            </a:endParaRPr>
          </a:p>
        </p:txBody>
      </p:sp>
      <p:sp>
        <p:nvSpPr>
          <p:cNvPr id="83" name="Freeform: Shape 54">
            <a:extLst>
              <a:ext uri="{FF2B5EF4-FFF2-40B4-BE49-F238E27FC236}">
                <a16:creationId xmlns:a16="http://schemas.microsoft.com/office/drawing/2014/main" id="{322F7ECD-1942-42EE-B5E0-FC1E0206BFFD}"/>
              </a:ext>
            </a:extLst>
          </p:cNvPr>
          <p:cNvSpPr/>
          <p:nvPr userDrawn="1"/>
        </p:nvSpPr>
        <p:spPr>
          <a:xfrm flipH="1">
            <a:off x="2386318" y="2962784"/>
            <a:ext cx="204312" cy="236468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  <a:gd name="connsiteX0" fmla="*/ 2187388 w 4387647"/>
              <a:gd name="connsiteY0" fmla="*/ 0 h 5032188"/>
              <a:gd name="connsiteX1" fmla="*/ 4386729 w 4387647"/>
              <a:gd name="connsiteY1" fmla="*/ 1261035 h 5032188"/>
              <a:gd name="connsiteX2" fmla="*/ 4384192 w 4387647"/>
              <a:gd name="connsiteY2" fmla="*/ 3783287 h 5032188"/>
              <a:gd name="connsiteX3" fmla="*/ 2193365 w 4387647"/>
              <a:gd name="connsiteY3" fmla="*/ 5032188 h 5032188"/>
              <a:gd name="connsiteX4" fmla="*/ 0 w 4387647"/>
              <a:gd name="connsiteY4" fmla="*/ 3783106 h 5032188"/>
              <a:gd name="connsiteX5" fmla="*/ 0 w 4387647"/>
              <a:gd name="connsiteY5" fmla="*/ 1267012 h 5032188"/>
              <a:gd name="connsiteX6" fmla="*/ 2187388 w 4387647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87647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80208" y="2940604"/>
                  <a:pt x="4384192" y="3783287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solidFill>
            <a:schemeClr val="accent6">
              <a:lumMod val="10000"/>
              <a:lumOff val="9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Posterama Text SemiBold"/>
              <a:ea typeface="+mn-ea"/>
              <a:cs typeface="+mn-cs"/>
            </a:endParaRPr>
          </a:p>
        </p:txBody>
      </p:sp>
      <p:sp>
        <p:nvSpPr>
          <p:cNvPr id="84" name="Freeform: Shape 55">
            <a:extLst>
              <a:ext uri="{FF2B5EF4-FFF2-40B4-BE49-F238E27FC236}">
                <a16:creationId xmlns:a16="http://schemas.microsoft.com/office/drawing/2014/main" id="{2465D6BD-72DA-4C13-97C2-7CF8D7F2F0C4}"/>
              </a:ext>
            </a:extLst>
          </p:cNvPr>
          <p:cNvSpPr/>
          <p:nvPr userDrawn="1"/>
        </p:nvSpPr>
        <p:spPr>
          <a:xfrm flipH="1">
            <a:off x="1190302" y="3612210"/>
            <a:ext cx="204312" cy="236468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  <a:gd name="connsiteX0" fmla="*/ 2187388 w 4387647"/>
              <a:gd name="connsiteY0" fmla="*/ 0 h 5032188"/>
              <a:gd name="connsiteX1" fmla="*/ 4386729 w 4387647"/>
              <a:gd name="connsiteY1" fmla="*/ 1261035 h 5032188"/>
              <a:gd name="connsiteX2" fmla="*/ 4384192 w 4387647"/>
              <a:gd name="connsiteY2" fmla="*/ 3783287 h 5032188"/>
              <a:gd name="connsiteX3" fmla="*/ 2193365 w 4387647"/>
              <a:gd name="connsiteY3" fmla="*/ 5032188 h 5032188"/>
              <a:gd name="connsiteX4" fmla="*/ 0 w 4387647"/>
              <a:gd name="connsiteY4" fmla="*/ 3783106 h 5032188"/>
              <a:gd name="connsiteX5" fmla="*/ 0 w 4387647"/>
              <a:gd name="connsiteY5" fmla="*/ 1267012 h 5032188"/>
              <a:gd name="connsiteX6" fmla="*/ 2187388 w 4387647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87647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80208" y="2940604"/>
                  <a:pt x="4384192" y="3783287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solidFill>
            <a:schemeClr val="accent6">
              <a:lumMod val="10000"/>
              <a:lumOff val="9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Posterama Text SemiBold"/>
              <a:ea typeface="+mn-ea"/>
              <a:cs typeface="+mn-cs"/>
            </a:endParaRPr>
          </a:p>
        </p:txBody>
      </p:sp>
      <p:sp>
        <p:nvSpPr>
          <p:cNvPr id="85" name="Content placeholder 47" descr="Click icon to add picture">
            <a:extLst>
              <a:ext uri="{FF2B5EF4-FFF2-40B4-BE49-F238E27FC236}">
                <a16:creationId xmlns:a16="http://schemas.microsoft.com/office/drawing/2014/main" id="{E7C6BEEA-1766-44A1-A28D-2E817DBF226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507136" y="3865003"/>
            <a:ext cx="1877575" cy="50639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lnSpc>
                <a:spcPct val="100000"/>
              </a:lnSpc>
              <a:buNone/>
              <a:defRPr sz="1800" b="1">
                <a:solidFill>
                  <a:schemeClr val="accent6"/>
                </a:solidFill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 Master title style </a:t>
            </a:r>
          </a:p>
        </p:txBody>
      </p:sp>
      <p:sp>
        <p:nvSpPr>
          <p:cNvPr id="86" name="Content placeholder 47">
            <a:extLst>
              <a:ext uri="{FF2B5EF4-FFF2-40B4-BE49-F238E27FC236}">
                <a16:creationId xmlns:a16="http://schemas.microsoft.com/office/drawing/2014/main" id="{597D4D7A-8D7E-492C-8795-D491CF53B5F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07136" y="4447079"/>
            <a:ext cx="1877575" cy="5063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lang="en-US" altLang="zh-CN" sz="1400" b="0" kern="1200" dirty="0">
                <a:solidFill>
                  <a:schemeClr val="accent6"/>
                </a:solidFill>
                <a:latin typeface="+mn-lt"/>
                <a:ea typeface="+mj-ea"/>
                <a:cs typeface="+mn-cs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marL="0" lvl="0" indent="0" algn="ctr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altLang="zh-CN" dirty="0"/>
              <a:t>Click to edit Master text styles </a:t>
            </a:r>
          </a:p>
        </p:txBody>
      </p:sp>
      <p:sp>
        <p:nvSpPr>
          <p:cNvPr id="87" name="Content placeholder 47" descr="Click icon to add picture">
            <a:extLst>
              <a:ext uri="{FF2B5EF4-FFF2-40B4-BE49-F238E27FC236}">
                <a16:creationId xmlns:a16="http://schemas.microsoft.com/office/drawing/2014/main" id="{A7396594-2DE7-4DB9-B6B4-92F63F06EFC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889942" y="2355643"/>
            <a:ext cx="1877575" cy="50639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lnSpc>
                <a:spcPct val="100000"/>
              </a:lnSpc>
              <a:buNone/>
              <a:defRPr sz="1800" b="1">
                <a:solidFill>
                  <a:schemeClr val="accent6"/>
                </a:solidFill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 Master title style </a:t>
            </a:r>
          </a:p>
        </p:txBody>
      </p:sp>
      <p:sp>
        <p:nvSpPr>
          <p:cNvPr id="88" name="Content placeholder 47">
            <a:extLst>
              <a:ext uri="{FF2B5EF4-FFF2-40B4-BE49-F238E27FC236}">
                <a16:creationId xmlns:a16="http://schemas.microsoft.com/office/drawing/2014/main" id="{CC680CF7-ED60-4FFF-B04E-B24ECDDD351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889942" y="2937719"/>
            <a:ext cx="1877575" cy="5063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90000"/>
              </a:lnSpc>
              <a:buNone/>
              <a:defRPr lang="en-US" altLang="zh-CN" sz="1400" b="0" kern="1200" dirty="0">
                <a:solidFill>
                  <a:schemeClr val="accent6"/>
                </a:solidFill>
                <a:latin typeface="+mn-lt"/>
                <a:ea typeface="+mj-ea"/>
                <a:cs typeface="+mn-cs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marL="0" lvl="0" indent="0" algn="ctr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altLang="zh-CN" dirty="0"/>
              <a:t>Click to edit Master text styles </a:t>
            </a:r>
          </a:p>
        </p:txBody>
      </p:sp>
      <p:sp>
        <p:nvSpPr>
          <p:cNvPr id="89" name="Content placeholder 47" descr="Click icon to add picture">
            <a:extLst>
              <a:ext uri="{FF2B5EF4-FFF2-40B4-BE49-F238E27FC236}">
                <a16:creationId xmlns:a16="http://schemas.microsoft.com/office/drawing/2014/main" id="{042E6E66-3835-45DF-80D9-C4AFDF3401F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107230" y="4469081"/>
            <a:ext cx="1877575" cy="50639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lnSpc>
                <a:spcPct val="100000"/>
              </a:lnSpc>
              <a:buNone/>
              <a:defRPr sz="1800" b="1">
                <a:solidFill>
                  <a:schemeClr val="accent6"/>
                </a:solidFill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 Master title style </a:t>
            </a:r>
          </a:p>
        </p:txBody>
      </p:sp>
      <p:sp>
        <p:nvSpPr>
          <p:cNvPr id="90" name="Content placeholder 47">
            <a:extLst>
              <a:ext uri="{FF2B5EF4-FFF2-40B4-BE49-F238E27FC236}">
                <a16:creationId xmlns:a16="http://schemas.microsoft.com/office/drawing/2014/main" id="{A6E85C70-1784-4A0C-8897-EDE98D39BC01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5107230" y="5051157"/>
            <a:ext cx="1877575" cy="5063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lang="en-US" altLang="zh-CN" sz="1400" b="0" kern="1200" dirty="0">
                <a:solidFill>
                  <a:schemeClr val="accent6"/>
                </a:solidFill>
                <a:latin typeface="+mn-lt"/>
                <a:ea typeface="+mj-ea"/>
                <a:cs typeface="+mn-cs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marL="0" lvl="0" indent="0" algn="ctr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altLang="zh-CN" dirty="0"/>
              <a:t>Click to edit Master text styles </a:t>
            </a:r>
          </a:p>
        </p:txBody>
      </p:sp>
      <p:sp>
        <p:nvSpPr>
          <p:cNvPr id="91" name="Content placeholder 47" descr="Click icon to add picture">
            <a:extLst>
              <a:ext uri="{FF2B5EF4-FFF2-40B4-BE49-F238E27FC236}">
                <a16:creationId xmlns:a16="http://schemas.microsoft.com/office/drawing/2014/main" id="{4CD55BC2-05D0-49CB-B0A5-C96ACB411B5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501941" y="4469081"/>
            <a:ext cx="1877575" cy="50639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lnSpc>
                <a:spcPct val="100000"/>
              </a:lnSpc>
              <a:buNone/>
              <a:defRPr sz="1800" b="1">
                <a:solidFill>
                  <a:schemeClr val="accent6"/>
                </a:solidFill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 Master title style </a:t>
            </a:r>
          </a:p>
        </p:txBody>
      </p:sp>
      <p:sp>
        <p:nvSpPr>
          <p:cNvPr id="92" name="Content placeholder 47">
            <a:extLst>
              <a:ext uri="{FF2B5EF4-FFF2-40B4-BE49-F238E27FC236}">
                <a16:creationId xmlns:a16="http://schemas.microsoft.com/office/drawing/2014/main" id="{49DB7120-2F2C-4F89-AA8C-ABC4F3FF25F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501941" y="5051157"/>
            <a:ext cx="1877575" cy="5063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lang="en-US" altLang="zh-CN" sz="1400" b="0" kern="1200" dirty="0">
                <a:solidFill>
                  <a:schemeClr val="accent6"/>
                </a:solidFill>
                <a:latin typeface="+mn-lt"/>
                <a:ea typeface="+mj-ea"/>
                <a:cs typeface="+mn-cs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marL="0" lvl="0" indent="0" algn="ctr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altLang="zh-CN" dirty="0"/>
              <a:t>Click to edit Master text styles </a:t>
            </a:r>
          </a:p>
        </p:txBody>
      </p:sp>
      <p:sp>
        <p:nvSpPr>
          <p:cNvPr id="93" name="Content placeholder 47" descr="Click icon to add picture">
            <a:extLst>
              <a:ext uri="{FF2B5EF4-FFF2-40B4-BE49-F238E27FC236}">
                <a16:creationId xmlns:a16="http://schemas.microsoft.com/office/drawing/2014/main" id="{AEB1F7BA-7D83-4C23-A72B-82DF9377E9C3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734718" y="2355643"/>
            <a:ext cx="1877575" cy="50639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lnSpc>
                <a:spcPct val="100000"/>
              </a:lnSpc>
              <a:buNone/>
              <a:defRPr sz="1800" b="1">
                <a:solidFill>
                  <a:schemeClr val="accent6"/>
                </a:solidFill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 Master title style </a:t>
            </a:r>
          </a:p>
        </p:txBody>
      </p:sp>
      <p:sp>
        <p:nvSpPr>
          <p:cNvPr id="94" name="Content placeholder 47">
            <a:extLst>
              <a:ext uri="{FF2B5EF4-FFF2-40B4-BE49-F238E27FC236}">
                <a16:creationId xmlns:a16="http://schemas.microsoft.com/office/drawing/2014/main" id="{7C32F3EB-1AC3-40E9-B66D-ADB19CC74F0F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734718" y="2937719"/>
            <a:ext cx="1877575" cy="5063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lang="en-US" altLang="zh-CN" sz="1400" b="0" kern="1200" dirty="0">
                <a:solidFill>
                  <a:schemeClr val="accent6"/>
                </a:solidFill>
                <a:latin typeface="+mn-lt"/>
                <a:ea typeface="+mj-ea"/>
                <a:cs typeface="+mn-cs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marL="0" lvl="0" indent="0" algn="ctr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altLang="zh-CN" dirty="0"/>
              <a:t>Click to edit Master text styles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67E7569-B8BF-39D0-D742-EF98B83E4E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8914" y="906413"/>
            <a:ext cx="10515600" cy="1025350"/>
          </a:xfrm>
        </p:spPr>
        <p:txBody>
          <a:bodyPr anchor="ctr">
            <a:noAutofit/>
          </a:bodyPr>
          <a:lstStyle>
            <a:lvl1pPr algn="l">
              <a:defRPr>
                <a:solidFill>
                  <a:schemeClr val="accent6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088099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19">
            <a:extLst>
              <a:ext uri="{FF2B5EF4-FFF2-40B4-BE49-F238E27FC236}">
                <a16:creationId xmlns:a16="http://schemas.microsoft.com/office/drawing/2014/main" id="{F38B75F8-75D4-4B41-B7C7-433032DD0A6F}"/>
              </a:ext>
            </a:extLst>
          </p:cNvPr>
          <p:cNvSpPr/>
          <p:nvPr userDrawn="1"/>
        </p:nvSpPr>
        <p:spPr>
          <a:xfrm flipH="1">
            <a:off x="858002" y="832297"/>
            <a:ext cx="1886361" cy="2213189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  <a:gd name="connsiteX0" fmla="*/ 2187388 w 4387647"/>
              <a:gd name="connsiteY0" fmla="*/ 0 h 5032188"/>
              <a:gd name="connsiteX1" fmla="*/ 4386729 w 4387647"/>
              <a:gd name="connsiteY1" fmla="*/ 1261035 h 5032188"/>
              <a:gd name="connsiteX2" fmla="*/ 4384192 w 4387647"/>
              <a:gd name="connsiteY2" fmla="*/ 3783287 h 5032188"/>
              <a:gd name="connsiteX3" fmla="*/ 2193365 w 4387647"/>
              <a:gd name="connsiteY3" fmla="*/ 5032188 h 5032188"/>
              <a:gd name="connsiteX4" fmla="*/ 0 w 4387647"/>
              <a:gd name="connsiteY4" fmla="*/ 3783106 h 5032188"/>
              <a:gd name="connsiteX5" fmla="*/ 0 w 4387647"/>
              <a:gd name="connsiteY5" fmla="*/ 1267012 h 5032188"/>
              <a:gd name="connsiteX6" fmla="*/ 2187388 w 4387647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87647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80208" y="2940604"/>
                  <a:pt x="4384192" y="3783287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8" name="Freeform: Shape 24">
            <a:extLst>
              <a:ext uri="{FF2B5EF4-FFF2-40B4-BE49-F238E27FC236}">
                <a16:creationId xmlns:a16="http://schemas.microsoft.com/office/drawing/2014/main" id="{671D1224-EDDC-4900-92DC-13608D44C524}"/>
              </a:ext>
            </a:extLst>
          </p:cNvPr>
          <p:cNvSpPr/>
          <p:nvPr userDrawn="1"/>
        </p:nvSpPr>
        <p:spPr>
          <a:xfrm flipH="1">
            <a:off x="871857" y="4399101"/>
            <a:ext cx="1886359" cy="2213189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  <a:gd name="connsiteX0" fmla="*/ 2187388 w 4387647"/>
              <a:gd name="connsiteY0" fmla="*/ 0 h 5032188"/>
              <a:gd name="connsiteX1" fmla="*/ 4386729 w 4387647"/>
              <a:gd name="connsiteY1" fmla="*/ 1261035 h 5032188"/>
              <a:gd name="connsiteX2" fmla="*/ 4384192 w 4387647"/>
              <a:gd name="connsiteY2" fmla="*/ 3783287 h 5032188"/>
              <a:gd name="connsiteX3" fmla="*/ 2193365 w 4387647"/>
              <a:gd name="connsiteY3" fmla="*/ 5032188 h 5032188"/>
              <a:gd name="connsiteX4" fmla="*/ 0 w 4387647"/>
              <a:gd name="connsiteY4" fmla="*/ 3783106 h 5032188"/>
              <a:gd name="connsiteX5" fmla="*/ 0 w 4387647"/>
              <a:gd name="connsiteY5" fmla="*/ 1267012 h 5032188"/>
              <a:gd name="connsiteX6" fmla="*/ 2187388 w 4387647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87647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80208" y="2940604"/>
                  <a:pt x="4384192" y="3783287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solidFill>
            <a:schemeClr val="accent6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15" name="Freeform 14">
            <a:extLst>
              <a:ext uri="{FF2B5EF4-FFF2-40B4-BE49-F238E27FC236}">
                <a16:creationId xmlns:a16="http://schemas.microsoft.com/office/drawing/2014/main" id="{635A9E44-4E60-1AD1-0B85-72422683B48A}"/>
              </a:ext>
            </a:extLst>
          </p:cNvPr>
          <p:cNvSpPr/>
          <p:nvPr userDrawn="1"/>
        </p:nvSpPr>
        <p:spPr>
          <a:xfrm flipH="1">
            <a:off x="7432" y="4051189"/>
            <a:ext cx="1157948" cy="1502830"/>
          </a:xfrm>
          <a:custGeom>
            <a:avLst/>
            <a:gdLst>
              <a:gd name="connsiteX0" fmla="*/ 638572 w 1157948"/>
              <a:gd name="connsiteY0" fmla="*/ 0 h 1502830"/>
              <a:gd name="connsiteX1" fmla="*/ 0 w 1157948"/>
              <a:gd name="connsiteY1" fmla="*/ 378385 h 1502830"/>
              <a:gd name="connsiteX2" fmla="*/ 0 w 1157948"/>
              <a:gd name="connsiteY2" fmla="*/ 1129800 h 1502830"/>
              <a:gd name="connsiteX3" fmla="*/ 640317 w 1157948"/>
              <a:gd name="connsiteY3" fmla="*/ 1502830 h 1502830"/>
              <a:gd name="connsiteX4" fmla="*/ 1157948 w 1157948"/>
              <a:gd name="connsiteY4" fmla="*/ 1200968 h 1502830"/>
              <a:gd name="connsiteX5" fmla="*/ 1157948 w 1157948"/>
              <a:gd name="connsiteY5" fmla="*/ 304639 h 15028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57948" h="1502830">
                <a:moveTo>
                  <a:pt x="638572" y="0"/>
                </a:moveTo>
                <a:lnTo>
                  <a:pt x="0" y="378385"/>
                </a:lnTo>
                <a:lnTo>
                  <a:pt x="0" y="1129800"/>
                </a:lnTo>
                <a:lnTo>
                  <a:pt x="640317" y="1502830"/>
                </a:lnTo>
                <a:lnTo>
                  <a:pt x="1157948" y="1200968"/>
                </a:lnTo>
                <a:lnTo>
                  <a:pt x="1157948" y="304639"/>
                </a:lnTo>
                <a:close/>
              </a:path>
            </a:pathLst>
          </a:custGeom>
          <a:noFill/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21" name="Subtitle 47" descr="Click icon to add picture">
            <a:extLst>
              <a:ext uri="{FF2B5EF4-FFF2-40B4-BE49-F238E27FC236}">
                <a16:creationId xmlns:a16="http://schemas.microsoft.com/office/drawing/2014/main" id="{0C7786BA-5E56-47AA-AE47-4EC07A0D4FA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50704" y="2914631"/>
            <a:ext cx="3211535" cy="587964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1">
                <a:solidFill>
                  <a:schemeClr val="accent6"/>
                </a:solidFill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 Master title style </a:t>
            </a:r>
          </a:p>
        </p:txBody>
      </p:sp>
      <p:sp>
        <p:nvSpPr>
          <p:cNvPr id="23" name="Content placeholder 47">
            <a:extLst>
              <a:ext uri="{FF2B5EF4-FFF2-40B4-BE49-F238E27FC236}">
                <a16:creationId xmlns:a16="http://schemas.microsoft.com/office/drawing/2014/main" id="{880214CF-87DD-476A-9B2E-A58DB313A61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550704" y="3535549"/>
            <a:ext cx="3211535" cy="172710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accent6"/>
                </a:solidFill>
                <a:latin typeface="+mn-lt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 Master text styles </a:t>
            </a:r>
          </a:p>
        </p:txBody>
      </p:sp>
      <p:sp>
        <p:nvSpPr>
          <p:cNvPr id="37" name="Picture placeholder">
            <a:extLst>
              <a:ext uri="{FF2B5EF4-FFF2-40B4-BE49-F238E27FC236}">
                <a16:creationId xmlns:a16="http://schemas.microsoft.com/office/drawing/2014/main" id="{264CF63C-079E-41AA-AA9A-762A765E699F}"/>
              </a:ext>
            </a:extLst>
          </p:cNvPr>
          <p:cNvSpPr>
            <a:spLocks noGrp="1"/>
          </p:cNvSpPr>
          <p:nvPr>
            <p:ph type="pic" sz="quarter" idx="51"/>
          </p:nvPr>
        </p:nvSpPr>
        <p:spPr>
          <a:xfrm>
            <a:off x="1876882" y="2637322"/>
            <a:ext cx="1886360" cy="2144668"/>
          </a:xfrm>
          <a:custGeom>
            <a:avLst/>
            <a:gdLst>
              <a:gd name="connsiteX0" fmla="*/ 0 w 4816475"/>
              <a:gd name="connsiteY0" fmla="*/ 2407444 h 4814888"/>
              <a:gd name="connsiteX1" fmla="*/ 1203722 w 4816475"/>
              <a:gd name="connsiteY1" fmla="*/ 1 h 4814888"/>
              <a:gd name="connsiteX2" fmla="*/ 3612753 w 4816475"/>
              <a:gd name="connsiteY2" fmla="*/ 1 h 4814888"/>
              <a:gd name="connsiteX3" fmla="*/ 4816475 w 4816475"/>
              <a:gd name="connsiteY3" fmla="*/ 2407444 h 4814888"/>
              <a:gd name="connsiteX4" fmla="*/ 3612753 w 4816475"/>
              <a:gd name="connsiteY4" fmla="*/ 4814887 h 4814888"/>
              <a:gd name="connsiteX5" fmla="*/ 1203722 w 4816475"/>
              <a:gd name="connsiteY5" fmla="*/ 4814887 h 4814888"/>
              <a:gd name="connsiteX6" fmla="*/ 0 w 4816475"/>
              <a:gd name="connsiteY6" fmla="*/ 2407444 h 4814888"/>
              <a:gd name="connsiteX0" fmla="*/ 0 w 4816475"/>
              <a:gd name="connsiteY0" fmla="*/ 2407443 h 4814886"/>
              <a:gd name="connsiteX1" fmla="*/ 2199402 w 4816475"/>
              <a:gd name="connsiteY1" fmla="*/ 243840 h 4814886"/>
              <a:gd name="connsiteX2" fmla="*/ 3612753 w 4816475"/>
              <a:gd name="connsiteY2" fmla="*/ 0 h 4814886"/>
              <a:gd name="connsiteX3" fmla="*/ 4816475 w 4816475"/>
              <a:gd name="connsiteY3" fmla="*/ 2407443 h 4814886"/>
              <a:gd name="connsiteX4" fmla="*/ 3612753 w 4816475"/>
              <a:gd name="connsiteY4" fmla="*/ 4814886 h 4814886"/>
              <a:gd name="connsiteX5" fmla="*/ 1203722 w 4816475"/>
              <a:gd name="connsiteY5" fmla="*/ 4814886 h 4814886"/>
              <a:gd name="connsiteX6" fmla="*/ 0 w 4816475"/>
              <a:gd name="connsiteY6" fmla="*/ 2407443 h 4814886"/>
              <a:gd name="connsiteX0" fmla="*/ 0 w 4816475"/>
              <a:gd name="connsiteY0" fmla="*/ 2163603 h 4571046"/>
              <a:gd name="connsiteX1" fmla="*/ 2199402 w 4816475"/>
              <a:gd name="connsiteY1" fmla="*/ 0 h 4571046"/>
              <a:gd name="connsiteX2" fmla="*/ 4608433 w 4816475"/>
              <a:gd name="connsiteY2" fmla="*/ 721360 h 4571046"/>
              <a:gd name="connsiteX3" fmla="*/ 4816475 w 4816475"/>
              <a:gd name="connsiteY3" fmla="*/ 2163603 h 4571046"/>
              <a:gd name="connsiteX4" fmla="*/ 3612753 w 4816475"/>
              <a:gd name="connsiteY4" fmla="*/ 4571046 h 4571046"/>
              <a:gd name="connsiteX5" fmla="*/ 1203722 w 4816475"/>
              <a:gd name="connsiteY5" fmla="*/ 4571046 h 4571046"/>
              <a:gd name="connsiteX6" fmla="*/ 0 w 4816475"/>
              <a:gd name="connsiteY6" fmla="*/ 2163603 h 4571046"/>
              <a:gd name="connsiteX0" fmla="*/ 0 w 4958715"/>
              <a:gd name="connsiteY0" fmla="*/ 2163603 h 4571046"/>
              <a:gd name="connsiteX1" fmla="*/ 2199402 w 4958715"/>
              <a:gd name="connsiteY1" fmla="*/ 0 h 4571046"/>
              <a:gd name="connsiteX2" fmla="*/ 4608433 w 4958715"/>
              <a:gd name="connsiteY2" fmla="*/ 721360 h 4571046"/>
              <a:gd name="connsiteX3" fmla="*/ 4958715 w 4958715"/>
              <a:gd name="connsiteY3" fmla="*/ 2803683 h 4571046"/>
              <a:gd name="connsiteX4" fmla="*/ 3612753 w 4958715"/>
              <a:gd name="connsiteY4" fmla="*/ 4571046 h 4571046"/>
              <a:gd name="connsiteX5" fmla="*/ 1203722 w 4958715"/>
              <a:gd name="connsiteY5" fmla="*/ 4571046 h 4571046"/>
              <a:gd name="connsiteX6" fmla="*/ 0 w 4958715"/>
              <a:gd name="connsiteY6" fmla="*/ 2163603 h 4571046"/>
              <a:gd name="connsiteX0" fmla="*/ 0 w 4916043"/>
              <a:gd name="connsiteY0" fmla="*/ 1273587 h 4571046"/>
              <a:gd name="connsiteX1" fmla="*/ 2156730 w 4916043"/>
              <a:gd name="connsiteY1" fmla="*/ 0 h 4571046"/>
              <a:gd name="connsiteX2" fmla="*/ 4565761 w 4916043"/>
              <a:gd name="connsiteY2" fmla="*/ 721360 h 4571046"/>
              <a:gd name="connsiteX3" fmla="*/ 4916043 w 4916043"/>
              <a:gd name="connsiteY3" fmla="*/ 2803683 h 4571046"/>
              <a:gd name="connsiteX4" fmla="*/ 3570081 w 4916043"/>
              <a:gd name="connsiteY4" fmla="*/ 4571046 h 4571046"/>
              <a:gd name="connsiteX5" fmla="*/ 1161050 w 4916043"/>
              <a:gd name="connsiteY5" fmla="*/ 4571046 h 4571046"/>
              <a:gd name="connsiteX6" fmla="*/ 0 w 4916043"/>
              <a:gd name="connsiteY6" fmla="*/ 1273587 h 4571046"/>
              <a:gd name="connsiteX0" fmla="*/ 0 w 4916043"/>
              <a:gd name="connsiteY0" fmla="*/ 1273587 h 4571046"/>
              <a:gd name="connsiteX1" fmla="*/ 2156730 w 4916043"/>
              <a:gd name="connsiteY1" fmla="*/ 0 h 4571046"/>
              <a:gd name="connsiteX2" fmla="*/ 4565761 w 4916043"/>
              <a:gd name="connsiteY2" fmla="*/ 721360 h 4571046"/>
              <a:gd name="connsiteX3" fmla="*/ 4916043 w 4916043"/>
              <a:gd name="connsiteY3" fmla="*/ 2803683 h 4571046"/>
              <a:gd name="connsiteX4" fmla="*/ 3570081 w 4916043"/>
              <a:gd name="connsiteY4" fmla="*/ 4571046 h 4571046"/>
              <a:gd name="connsiteX5" fmla="*/ 21098 w 4916043"/>
              <a:gd name="connsiteY5" fmla="*/ 3815142 h 4571046"/>
              <a:gd name="connsiteX6" fmla="*/ 0 w 4916043"/>
              <a:gd name="connsiteY6" fmla="*/ 1273587 h 4571046"/>
              <a:gd name="connsiteX0" fmla="*/ 0 w 4916043"/>
              <a:gd name="connsiteY0" fmla="*/ 1273587 h 5066346"/>
              <a:gd name="connsiteX1" fmla="*/ 2156730 w 4916043"/>
              <a:gd name="connsiteY1" fmla="*/ 0 h 5066346"/>
              <a:gd name="connsiteX2" fmla="*/ 4565761 w 4916043"/>
              <a:gd name="connsiteY2" fmla="*/ 721360 h 5066346"/>
              <a:gd name="connsiteX3" fmla="*/ 4916043 w 4916043"/>
              <a:gd name="connsiteY3" fmla="*/ 2803683 h 5066346"/>
              <a:gd name="connsiteX4" fmla="*/ 2236581 w 4916043"/>
              <a:gd name="connsiteY4" fmla="*/ 5066346 h 5066346"/>
              <a:gd name="connsiteX5" fmla="*/ 21098 w 4916043"/>
              <a:gd name="connsiteY5" fmla="*/ 3815142 h 5066346"/>
              <a:gd name="connsiteX6" fmla="*/ 0 w 4916043"/>
              <a:gd name="connsiteY6" fmla="*/ 1273587 h 5066346"/>
              <a:gd name="connsiteX0" fmla="*/ 0 w 4565761"/>
              <a:gd name="connsiteY0" fmla="*/ 1273587 h 5066346"/>
              <a:gd name="connsiteX1" fmla="*/ 2156730 w 4565761"/>
              <a:gd name="connsiteY1" fmla="*/ 0 h 5066346"/>
              <a:gd name="connsiteX2" fmla="*/ 4565761 w 4565761"/>
              <a:gd name="connsiteY2" fmla="*/ 721360 h 5066346"/>
              <a:gd name="connsiteX3" fmla="*/ 4405503 w 4565761"/>
              <a:gd name="connsiteY3" fmla="*/ 3801903 h 5066346"/>
              <a:gd name="connsiteX4" fmla="*/ 2236581 w 4565761"/>
              <a:gd name="connsiteY4" fmla="*/ 5066346 h 5066346"/>
              <a:gd name="connsiteX5" fmla="*/ 21098 w 4565761"/>
              <a:gd name="connsiteY5" fmla="*/ 3815142 h 5066346"/>
              <a:gd name="connsiteX6" fmla="*/ 0 w 4565761"/>
              <a:gd name="connsiteY6" fmla="*/ 1273587 h 5066346"/>
              <a:gd name="connsiteX0" fmla="*/ 0 w 4405503"/>
              <a:gd name="connsiteY0" fmla="*/ 1273587 h 5066346"/>
              <a:gd name="connsiteX1" fmla="*/ 2156730 w 4405503"/>
              <a:gd name="connsiteY1" fmla="*/ 0 h 5066346"/>
              <a:gd name="connsiteX2" fmla="*/ 4398121 w 4405503"/>
              <a:gd name="connsiteY2" fmla="*/ 1277620 h 5066346"/>
              <a:gd name="connsiteX3" fmla="*/ 4405503 w 4405503"/>
              <a:gd name="connsiteY3" fmla="*/ 3801903 h 5066346"/>
              <a:gd name="connsiteX4" fmla="*/ 2236581 w 4405503"/>
              <a:gd name="connsiteY4" fmla="*/ 5066346 h 5066346"/>
              <a:gd name="connsiteX5" fmla="*/ 21098 w 4405503"/>
              <a:gd name="connsiteY5" fmla="*/ 3815142 h 5066346"/>
              <a:gd name="connsiteX6" fmla="*/ 0 w 4405503"/>
              <a:gd name="connsiteY6" fmla="*/ 1273587 h 5066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405503" h="5066346">
                <a:moveTo>
                  <a:pt x="0" y="1273587"/>
                </a:moveTo>
                <a:lnTo>
                  <a:pt x="2156730" y="0"/>
                </a:lnTo>
                <a:lnTo>
                  <a:pt x="4398121" y="1277620"/>
                </a:lnTo>
                <a:cubicBezTo>
                  <a:pt x="4400582" y="2119048"/>
                  <a:pt x="4403042" y="2960475"/>
                  <a:pt x="4405503" y="3801903"/>
                </a:cubicBezTo>
                <a:lnTo>
                  <a:pt x="2236581" y="5066346"/>
                </a:lnTo>
                <a:lnTo>
                  <a:pt x="21098" y="3815142"/>
                </a:lnTo>
                <a:lnTo>
                  <a:pt x="0" y="127358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6"/>
                </a:solidFill>
              </a:defRPr>
            </a:lvl1pPr>
          </a:lstStyle>
          <a:p>
            <a:r>
              <a:rPr lang="en-GB" altLang="zh-CN"/>
              <a:t>Click icon to add picture</a:t>
            </a:r>
            <a:endParaRPr lang="zh-CN" altLang="en-US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D041C638-CBB8-1159-9AF8-B5D14CC7BE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50704" y="1264158"/>
            <a:ext cx="6599429" cy="1325563"/>
          </a:xfrm>
        </p:spPr>
        <p:txBody>
          <a:bodyPr anchor="ctr">
            <a:noAutofit/>
          </a:bodyPr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8" name="Subtitle 47" descr="Click icon to add picture">
            <a:extLst>
              <a:ext uri="{FF2B5EF4-FFF2-40B4-BE49-F238E27FC236}">
                <a16:creationId xmlns:a16="http://schemas.microsoft.com/office/drawing/2014/main" id="{3C2C4001-E56F-4174-01AA-4630360BFF48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974065" y="2914631"/>
            <a:ext cx="3211535" cy="587964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1">
                <a:solidFill>
                  <a:schemeClr val="accent6"/>
                </a:solidFill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 Master title style </a:t>
            </a:r>
          </a:p>
        </p:txBody>
      </p:sp>
      <p:sp>
        <p:nvSpPr>
          <p:cNvPr id="20" name="Content placeholder 47">
            <a:extLst>
              <a:ext uri="{FF2B5EF4-FFF2-40B4-BE49-F238E27FC236}">
                <a16:creationId xmlns:a16="http://schemas.microsoft.com/office/drawing/2014/main" id="{02DFC856-C546-62E9-220F-7A668D349056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974065" y="3535549"/>
            <a:ext cx="3211535" cy="172710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accent6"/>
                </a:solidFill>
                <a:latin typeface="+mn-lt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 Master text styles </a:t>
            </a:r>
          </a:p>
        </p:txBody>
      </p:sp>
    </p:spTree>
    <p:extLst>
      <p:ext uri="{BB962C8B-B14F-4D97-AF65-F5344CB8AC3E}">
        <p14:creationId xmlns:p14="http://schemas.microsoft.com/office/powerpoint/2010/main" val="361364637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 14">
            <a:extLst>
              <a:ext uri="{FF2B5EF4-FFF2-40B4-BE49-F238E27FC236}">
                <a16:creationId xmlns:a16="http://schemas.microsoft.com/office/drawing/2014/main" id="{F946AB17-3782-8412-C51A-DE10A0637453}"/>
              </a:ext>
            </a:extLst>
          </p:cNvPr>
          <p:cNvSpPr/>
          <p:nvPr userDrawn="1"/>
        </p:nvSpPr>
        <p:spPr>
          <a:xfrm>
            <a:off x="0" y="2860787"/>
            <a:ext cx="2361029" cy="3676532"/>
          </a:xfrm>
          <a:custGeom>
            <a:avLst/>
            <a:gdLst>
              <a:gd name="connsiteX0" fmla="*/ 773997 w 2361029"/>
              <a:gd name="connsiteY0" fmla="*/ 0 h 3676532"/>
              <a:gd name="connsiteX1" fmla="*/ 2361029 w 2361029"/>
              <a:gd name="connsiteY1" fmla="*/ 925683 h 3676532"/>
              <a:gd name="connsiteX2" fmla="*/ 2361029 w 2361029"/>
              <a:gd name="connsiteY2" fmla="*/ 2763949 h 3676532"/>
              <a:gd name="connsiteX3" fmla="*/ 769661 w 2361029"/>
              <a:gd name="connsiteY3" fmla="*/ 3676532 h 3676532"/>
              <a:gd name="connsiteX4" fmla="*/ 0 w 2361029"/>
              <a:gd name="connsiteY4" fmla="*/ 3234717 h 3676532"/>
              <a:gd name="connsiteX5" fmla="*/ 0 w 2361029"/>
              <a:gd name="connsiteY5" fmla="*/ 446885 h 36765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361029" h="3676532">
                <a:moveTo>
                  <a:pt x="773997" y="0"/>
                </a:moveTo>
                <a:lnTo>
                  <a:pt x="2361029" y="925683"/>
                </a:lnTo>
                <a:lnTo>
                  <a:pt x="2361029" y="2763949"/>
                </a:lnTo>
                <a:lnTo>
                  <a:pt x="769661" y="3676532"/>
                </a:lnTo>
                <a:lnTo>
                  <a:pt x="0" y="3234717"/>
                </a:lnTo>
                <a:lnTo>
                  <a:pt x="0" y="446885"/>
                </a:lnTo>
                <a:close/>
              </a:path>
            </a:pathLst>
          </a:cu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2BA5A58B-9440-7DAB-E7D7-3143B049FBAC}"/>
              </a:ext>
            </a:extLst>
          </p:cNvPr>
          <p:cNvSpPr/>
          <p:nvPr userDrawn="1"/>
        </p:nvSpPr>
        <p:spPr>
          <a:xfrm flipH="1">
            <a:off x="1014233" y="5253270"/>
            <a:ext cx="1710765" cy="1593273"/>
          </a:xfrm>
          <a:custGeom>
            <a:avLst/>
            <a:gdLst>
              <a:gd name="connsiteX0" fmla="*/ 852873 w 1710765"/>
              <a:gd name="connsiteY0" fmla="*/ 0 h 1593273"/>
              <a:gd name="connsiteX1" fmla="*/ 0 w 1710765"/>
              <a:gd name="connsiteY1" fmla="*/ 494134 h 1593273"/>
              <a:gd name="connsiteX2" fmla="*/ 0 w 1710765"/>
              <a:gd name="connsiteY2" fmla="*/ 1475410 h 1593273"/>
              <a:gd name="connsiteX3" fmla="*/ 206916 w 1710765"/>
              <a:gd name="connsiteY3" fmla="*/ 1593273 h 1593273"/>
              <a:gd name="connsiteX4" fmla="*/ 1502835 w 1710765"/>
              <a:gd name="connsiteY4" fmla="*/ 1593273 h 1593273"/>
              <a:gd name="connsiteX5" fmla="*/ 1709418 w 1710765"/>
              <a:gd name="connsiteY5" fmla="*/ 1475480 h 1593273"/>
              <a:gd name="connsiteX6" fmla="*/ 1710407 w 1710765"/>
              <a:gd name="connsiteY6" fmla="*/ 491803 h 15932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10765" h="1593273">
                <a:moveTo>
                  <a:pt x="852873" y="0"/>
                </a:moveTo>
                <a:lnTo>
                  <a:pt x="0" y="494134"/>
                </a:lnTo>
                <a:lnTo>
                  <a:pt x="0" y="1475410"/>
                </a:lnTo>
                <a:lnTo>
                  <a:pt x="206916" y="1593273"/>
                </a:lnTo>
                <a:lnTo>
                  <a:pt x="1502835" y="1593273"/>
                </a:lnTo>
                <a:lnTo>
                  <a:pt x="1709418" y="1475480"/>
                </a:lnTo>
                <a:cubicBezTo>
                  <a:pt x="1707864" y="1146834"/>
                  <a:pt x="1711961" y="820449"/>
                  <a:pt x="1710407" y="491803"/>
                </a:cubicBezTo>
                <a:close/>
              </a:path>
            </a:pathLst>
          </a:custGeom>
          <a:noFill/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22" name="Content Placeholder 47" descr="Click icon to add picture">
            <a:extLst>
              <a:ext uri="{FF2B5EF4-FFF2-40B4-BE49-F238E27FC236}">
                <a16:creationId xmlns:a16="http://schemas.microsoft.com/office/drawing/2014/main" id="{95ADF367-2619-4E00-AB82-8FFF41D0E5C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77449" y="1238596"/>
            <a:ext cx="5162709" cy="42068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1" i="0">
                <a:solidFill>
                  <a:schemeClr val="accent6"/>
                </a:solidFill>
                <a:latin typeface="+mn-lt"/>
                <a:cs typeface="Posterama" panose="020B0504020200020000" pitchFamily="34" charset="0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 Master title style </a:t>
            </a:r>
          </a:p>
        </p:txBody>
      </p:sp>
      <p:sp>
        <p:nvSpPr>
          <p:cNvPr id="23" name="Content Placeholder 47">
            <a:extLst>
              <a:ext uri="{FF2B5EF4-FFF2-40B4-BE49-F238E27FC236}">
                <a16:creationId xmlns:a16="http://schemas.microsoft.com/office/drawing/2014/main" id="{8CEB04CE-793E-47B4-8D80-9B82864F2CD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77448" y="1682429"/>
            <a:ext cx="5162709" cy="1260000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>
                <a:solidFill>
                  <a:schemeClr val="accent6"/>
                </a:solidFill>
                <a:latin typeface="+mn-lt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 Master text styles </a:t>
            </a:r>
          </a:p>
        </p:txBody>
      </p:sp>
      <p:sp>
        <p:nvSpPr>
          <p:cNvPr id="24" name="Content Placeholder 47" descr="Click icon to add picture">
            <a:extLst>
              <a:ext uri="{FF2B5EF4-FFF2-40B4-BE49-F238E27FC236}">
                <a16:creationId xmlns:a16="http://schemas.microsoft.com/office/drawing/2014/main" id="{067BF8FD-2643-4122-BE3E-63F413244EC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277449" y="2994845"/>
            <a:ext cx="5162709" cy="42068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1" i="0">
                <a:solidFill>
                  <a:schemeClr val="accent6"/>
                </a:solidFill>
                <a:latin typeface="+mn-lt"/>
                <a:cs typeface="Posterama" panose="020B0504020200020000" pitchFamily="34" charset="0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 Master title style </a:t>
            </a:r>
          </a:p>
        </p:txBody>
      </p:sp>
      <p:sp>
        <p:nvSpPr>
          <p:cNvPr id="26" name="Content Placeholder 47" descr="Click icon to add picture">
            <a:extLst>
              <a:ext uri="{FF2B5EF4-FFF2-40B4-BE49-F238E27FC236}">
                <a16:creationId xmlns:a16="http://schemas.microsoft.com/office/drawing/2014/main" id="{02260D10-FEA1-48A7-B544-FAEEAECF5DE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277447" y="4739713"/>
            <a:ext cx="5162709" cy="42139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1" i="0">
                <a:solidFill>
                  <a:schemeClr val="accent6"/>
                </a:solidFill>
                <a:latin typeface="+mn-lt"/>
                <a:cs typeface="Posterama" panose="020B0504020200020000" pitchFamily="34" charset="0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 Master title style </a:t>
            </a:r>
          </a:p>
        </p:txBody>
      </p:sp>
      <p:sp>
        <p:nvSpPr>
          <p:cNvPr id="20" name="Content Placeholder 47">
            <a:extLst>
              <a:ext uri="{FF2B5EF4-FFF2-40B4-BE49-F238E27FC236}">
                <a16:creationId xmlns:a16="http://schemas.microsoft.com/office/drawing/2014/main" id="{64584B30-8BCF-4D75-8A6C-FD82347CC7B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77448" y="3429844"/>
            <a:ext cx="5162709" cy="1260000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>
                <a:solidFill>
                  <a:schemeClr val="accent6"/>
                </a:solidFill>
                <a:latin typeface="+mn-lt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 Master text styles </a:t>
            </a:r>
          </a:p>
        </p:txBody>
      </p:sp>
      <p:sp>
        <p:nvSpPr>
          <p:cNvPr id="28" name="Content Placeholder 47">
            <a:extLst>
              <a:ext uri="{FF2B5EF4-FFF2-40B4-BE49-F238E27FC236}">
                <a16:creationId xmlns:a16="http://schemas.microsoft.com/office/drawing/2014/main" id="{A4A25056-27FA-4039-ACFA-6624F778712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277448" y="5184162"/>
            <a:ext cx="5162709" cy="1260000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>
                <a:solidFill>
                  <a:schemeClr val="accent6"/>
                </a:solidFill>
                <a:latin typeface="+mn-lt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 Master text styles </a:t>
            </a:r>
          </a:p>
        </p:txBody>
      </p:sp>
      <p:sp>
        <p:nvSpPr>
          <p:cNvPr id="27" name="Freeform: Shape 24">
            <a:extLst>
              <a:ext uri="{FF2B5EF4-FFF2-40B4-BE49-F238E27FC236}">
                <a16:creationId xmlns:a16="http://schemas.microsoft.com/office/drawing/2014/main" id="{A23F9759-CF52-CE45-5E22-9678534685A7}"/>
              </a:ext>
            </a:extLst>
          </p:cNvPr>
          <p:cNvSpPr/>
          <p:nvPr userDrawn="1"/>
        </p:nvSpPr>
        <p:spPr>
          <a:xfrm flipH="1">
            <a:off x="2631891" y="4699053"/>
            <a:ext cx="668814" cy="784693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  <a:gd name="connsiteX0" fmla="*/ 2187388 w 4387647"/>
              <a:gd name="connsiteY0" fmla="*/ 0 h 5032188"/>
              <a:gd name="connsiteX1" fmla="*/ 4386729 w 4387647"/>
              <a:gd name="connsiteY1" fmla="*/ 1261035 h 5032188"/>
              <a:gd name="connsiteX2" fmla="*/ 4384192 w 4387647"/>
              <a:gd name="connsiteY2" fmla="*/ 3783287 h 5032188"/>
              <a:gd name="connsiteX3" fmla="*/ 2193365 w 4387647"/>
              <a:gd name="connsiteY3" fmla="*/ 5032188 h 5032188"/>
              <a:gd name="connsiteX4" fmla="*/ 0 w 4387647"/>
              <a:gd name="connsiteY4" fmla="*/ 3783106 h 5032188"/>
              <a:gd name="connsiteX5" fmla="*/ 0 w 4387647"/>
              <a:gd name="connsiteY5" fmla="*/ 1267012 h 5032188"/>
              <a:gd name="connsiteX6" fmla="*/ 2187388 w 4387647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87647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80208" y="2940604"/>
                  <a:pt x="4384192" y="3783287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5D84FCC1-368D-680C-31AA-597C3AAF42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665" y="907575"/>
            <a:ext cx="4445255" cy="2077109"/>
          </a:xfrm>
        </p:spPr>
        <p:txBody>
          <a:bodyPr anchor="t">
            <a:noAutofit/>
          </a:bodyPr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E53E8C9F-CD73-30CD-1F24-20F2E6149D58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744791" y="1711618"/>
            <a:ext cx="507778" cy="565882"/>
          </a:xfrm>
        </p:spPr>
        <p:txBody>
          <a:bodyPr lIns="0" rIns="0"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>
                <a:solidFill>
                  <a:schemeClr val="accent6"/>
                </a:solidFill>
                <a:latin typeface="Abadi" panose="020B0604020104020204" pitchFamily="34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altLang="zh-CN"/>
              <a:t>Click icon to add picture</a:t>
            </a:r>
            <a:endParaRPr lang="en-US" dirty="0"/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CE61E189-349E-0076-EA43-7BCB6E24CE86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5730545" y="3461250"/>
            <a:ext cx="536270" cy="565882"/>
          </a:xfrm>
        </p:spPr>
        <p:txBody>
          <a:bodyPr lIns="0" rIns="0"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>
                <a:solidFill>
                  <a:schemeClr val="accent6"/>
                </a:solidFill>
                <a:latin typeface="Abadi" panose="020B0604020104020204" pitchFamily="34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altLang="zh-CN"/>
              <a:t>Click icon to add picture</a:t>
            </a:r>
            <a:endParaRPr lang="en-US" dirty="0"/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68B04572-5D47-C3DF-CDEA-15EC646EA8FE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5719909" y="5213881"/>
            <a:ext cx="536270" cy="565882"/>
          </a:xfrm>
        </p:spPr>
        <p:txBody>
          <a:bodyPr lIns="0" rIns="0"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>
                <a:solidFill>
                  <a:schemeClr val="accent6"/>
                </a:solidFill>
                <a:latin typeface="Abadi" panose="020B0604020104020204" pitchFamily="34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altLang="zh-CN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211375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47">
            <a:extLst>
              <a:ext uri="{FF2B5EF4-FFF2-40B4-BE49-F238E27FC236}">
                <a16:creationId xmlns:a16="http://schemas.microsoft.com/office/drawing/2014/main" id="{3EDD8D3E-653B-4A9E-9868-3B013A65FE9F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7493157" y="529148"/>
            <a:ext cx="4248873" cy="4731130"/>
          </a:xfrm>
          <a:custGeom>
            <a:avLst/>
            <a:gdLst>
              <a:gd name="connsiteX0" fmla="*/ 0 w 4816475"/>
              <a:gd name="connsiteY0" fmla="*/ 2407444 h 4814888"/>
              <a:gd name="connsiteX1" fmla="*/ 1203722 w 4816475"/>
              <a:gd name="connsiteY1" fmla="*/ 1 h 4814888"/>
              <a:gd name="connsiteX2" fmla="*/ 3612753 w 4816475"/>
              <a:gd name="connsiteY2" fmla="*/ 1 h 4814888"/>
              <a:gd name="connsiteX3" fmla="*/ 4816475 w 4816475"/>
              <a:gd name="connsiteY3" fmla="*/ 2407444 h 4814888"/>
              <a:gd name="connsiteX4" fmla="*/ 3612753 w 4816475"/>
              <a:gd name="connsiteY4" fmla="*/ 4814887 h 4814888"/>
              <a:gd name="connsiteX5" fmla="*/ 1203722 w 4816475"/>
              <a:gd name="connsiteY5" fmla="*/ 4814887 h 4814888"/>
              <a:gd name="connsiteX6" fmla="*/ 0 w 4816475"/>
              <a:gd name="connsiteY6" fmla="*/ 2407444 h 4814888"/>
              <a:gd name="connsiteX0" fmla="*/ 0 w 4816475"/>
              <a:gd name="connsiteY0" fmla="*/ 2407443 h 4814886"/>
              <a:gd name="connsiteX1" fmla="*/ 2199402 w 4816475"/>
              <a:gd name="connsiteY1" fmla="*/ 243840 h 4814886"/>
              <a:gd name="connsiteX2" fmla="*/ 3612753 w 4816475"/>
              <a:gd name="connsiteY2" fmla="*/ 0 h 4814886"/>
              <a:gd name="connsiteX3" fmla="*/ 4816475 w 4816475"/>
              <a:gd name="connsiteY3" fmla="*/ 2407443 h 4814886"/>
              <a:gd name="connsiteX4" fmla="*/ 3612753 w 4816475"/>
              <a:gd name="connsiteY4" fmla="*/ 4814886 h 4814886"/>
              <a:gd name="connsiteX5" fmla="*/ 1203722 w 4816475"/>
              <a:gd name="connsiteY5" fmla="*/ 4814886 h 4814886"/>
              <a:gd name="connsiteX6" fmla="*/ 0 w 4816475"/>
              <a:gd name="connsiteY6" fmla="*/ 2407443 h 4814886"/>
              <a:gd name="connsiteX0" fmla="*/ 0 w 4816475"/>
              <a:gd name="connsiteY0" fmla="*/ 2163603 h 4571046"/>
              <a:gd name="connsiteX1" fmla="*/ 2199402 w 4816475"/>
              <a:gd name="connsiteY1" fmla="*/ 0 h 4571046"/>
              <a:gd name="connsiteX2" fmla="*/ 4608433 w 4816475"/>
              <a:gd name="connsiteY2" fmla="*/ 721360 h 4571046"/>
              <a:gd name="connsiteX3" fmla="*/ 4816475 w 4816475"/>
              <a:gd name="connsiteY3" fmla="*/ 2163603 h 4571046"/>
              <a:gd name="connsiteX4" fmla="*/ 3612753 w 4816475"/>
              <a:gd name="connsiteY4" fmla="*/ 4571046 h 4571046"/>
              <a:gd name="connsiteX5" fmla="*/ 1203722 w 4816475"/>
              <a:gd name="connsiteY5" fmla="*/ 4571046 h 4571046"/>
              <a:gd name="connsiteX6" fmla="*/ 0 w 4816475"/>
              <a:gd name="connsiteY6" fmla="*/ 2163603 h 4571046"/>
              <a:gd name="connsiteX0" fmla="*/ 0 w 4958715"/>
              <a:gd name="connsiteY0" fmla="*/ 2163603 h 4571046"/>
              <a:gd name="connsiteX1" fmla="*/ 2199402 w 4958715"/>
              <a:gd name="connsiteY1" fmla="*/ 0 h 4571046"/>
              <a:gd name="connsiteX2" fmla="*/ 4608433 w 4958715"/>
              <a:gd name="connsiteY2" fmla="*/ 721360 h 4571046"/>
              <a:gd name="connsiteX3" fmla="*/ 4958715 w 4958715"/>
              <a:gd name="connsiteY3" fmla="*/ 2803683 h 4571046"/>
              <a:gd name="connsiteX4" fmla="*/ 3612753 w 4958715"/>
              <a:gd name="connsiteY4" fmla="*/ 4571046 h 4571046"/>
              <a:gd name="connsiteX5" fmla="*/ 1203722 w 4958715"/>
              <a:gd name="connsiteY5" fmla="*/ 4571046 h 4571046"/>
              <a:gd name="connsiteX6" fmla="*/ 0 w 4958715"/>
              <a:gd name="connsiteY6" fmla="*/ 2163603 h 4571046"/>
              <a:gd name="connsiteX0" fmla="*/ 0 w 4916043"/>
              <a:gd name="connsiteY0" fmla="*/ 1273587 h 4571046"/>
              <a:gd name="connsiteX1" fmla="*/ 2156730 w 4916043"/>
              <a:gd name="connsiteY1" fmla="*/ 0 h 4571046"/>
              <a:gd name="connsiteX2" fmla="*/ 4565761 w 4916043"/>
              <a:gd name="connsiteY2" fmla="*/ 721360 h 4571046"/>
              <a:gd name="connsiteX3" fmla="*/ 4916043 w 4916043"/>
              <a:gd name="connsiteY3" fmla="*/ 2803683 h 4571046"/>
              <a:gd name="connsiteX4" fmla="*/ 3570081 w 4916043"/>
              <a:gd name="connsiteY4" fmla="*/ 4571046 h 4571046"/>
              <a:gd name="connsiteX5" fmla="*/ 1161050 w 4916043"/>
              <a:gd name="connsiteY5" fmla="*/ 4571046 h 4571046"/>
              <a:gd name="connsiteX6" fmla="*/ 0 w 4916043"/>
              <a:gd name="connsiteY6" fmla="*/ 1273587 h 4571046"/>
              <a:gd name="connsiteX0" fmla="*/ 0 w 4916043"/>
              <a:gd name="connsiteY0" fmla="*/ 1273587 h 4571046"/>
              <a:gd name="connsiteX1" fmla="*/ 2156730 w 4916043"/>
              <a:gd name="connsiteY1" fmla="*/ 0 h 4571046"/>
              <a:gd name="connsiteX2" fmla="*/ 4565761 w 4916043"/>
              <a:gd name="connsiteY2" fmla="*/ 721360 h 4571046"/>
              <a:gd name="connsiteX3" fmla="*/ 4916043 w 4916043"/>
              <a:gd name="connsiteY3" fmla="*/ 2803683 h 4571046"/>
              <a:gd name="connsiteX4" fmla="*/ 3570081 w 4916043"/>
              <a:gd name="connsiteY4" fmla="*/ 4571046 h 4571046"/>
              <a:gd name="connsiteX5" fmla="*/ 21098 w 4916043"/>
              <a:gd name="connsiteY5" fmla="*/ 3815142 h 4571046"/>
              <a:gd name="connsiteX6" fmla="*/ 0 w 4916043"/>
              <a:gd name="connsiteY6" fmla="*/ 1273587 h 4571046"/>
              <a:gd name="connsiteX0" fmla="*/ 0 w 4916043"/>
              <a:gd name="connsiteY0" fmla="*/ 1273587 h 5066346"/>
              <a:gd name="connsiteX1" fmla="*/ 2156730 w 4916043"/>
              <a:gd name="connsiteY1" fmla="*/ 0 h 5066346"/>
              <a:gd name="connsiteX2" fmla="*/ 4565761 w 4916043"/>
              <a:gd name="connsiteY2" fmla="*/ 721360 h 5066346"/>
              <a:gd name="connsiteX3" fmla="*/ 4916043 w 4916043"/>
              <a:gd name="connsiteY3" fmla="*/ 2803683 h 5066346"/>
              <a:gd name="connsiteX4" fmla="*/ 2236581 w 4916043"/>
              <a:gd name="connsiteY4" fmla="*/ 5066346 h 5066346"/>
              <a:gd name="connsiteX5" fmla="*/ 21098 w 4916043"/>
              <a:gd name="connsiteY5" fmla="*/ 3815142 h 5066346"/>
              <a:gd name="connsiteX6" fmla="*/ 0 w 4916043"/>
              <a:gd name="connsiteY6" fmla="*/ 1273587 h 5066346"/>
              <a:gd name="connsiteX0" fmla="*/ 0 w 4565761"/>
              <a:gd name="connsiteY0" fmla="*/ 1273587 h 5066346"/>
              <a:gd name="connsiteX1" fmla="*/ 2156730 w 4565761"/>
              <a:gd name="connsiteY1" fmla="*/ 0 h 5066346"/>
              <a:gd name="connsiteX2" fmla="*/ 4565761 w 4565761"/>
              <a:gd name="connsiteY2" fmla="*/ 721360 h 5066346"/>
              <a:gd name="connsiteX3" fmla="*/ 4405503 w 4565761"/>
              <a:gd name="connsiteY3" fmla="*/ 3801903 h 5066346"/>
              <a:gd name="connsiteX4" fmla="*/ 2236581 w 4565761"/>
              <a:gd name="connsiteY4" fmla="*/ 5066346 h 5066346"/>
              <a:gd name="connsiteX5" fmla="*/ 21098 w 4565761"/>
              <a:gd name="connsiteY5" fmla="*/ 3815142 h 5066346"/>
              <a:gd name="connsiteX6" fmla="*/ 0 w 4565761"/>
              <a:gd name="connsiteY6" fmla="*/ 1273587 h 5066346"/>
              <a:gd name="connsiteX0" fmla="*/ 0 w 4405503"/>
              <a:gd name="connsiteY0" fmla="*/ 1273587 h 5066346"/>
              <a:gd name="connsiteX1" fmla="*/ 2156730 w 4405503"/>
              <a:gd name="connsiteY1" fmla="*/ 0 h 5066346"/>
              <a:gd name="connsiteX2" fmla="*/ 4398121 w 4405503"/>
              <a:gd name="connsiteY2" fmla="*/ 1277620 h 5066346"/>
              <a:gd name="connsiteX3" fmla="*/ 4405503 w 4405503"/>
              <a:gd name="connsiteY3" fmla="*/ 3801903 h 5066346"/>
              <a:gd name="connsiteX4" fmla="*/ 2236581 w 4405503"/>
              <a:gd name="connsiteY4" fmla="*/ 5066346 h 5066346"/>
              <a:gd name="connsiteX5" fmla="*/ 21098 w 4405503"/>
              <a:gd name="connsiteY5" fmla="*/ 3815142 h 5066346"/>
              <a:gd name="connsiteX6" fmla="*/ 0 w 4405503"/>
              <a:gd name="connsiteY6" fmla="*/ 1273587 h 5066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405503" h="5066346">
                <a:moveTo>
                  <a:pt x="0" y="1273587"/>
                </a:moveTo>
                <a:lnTo>
                  <a:pt x="2156730" y="0"/>
                </a:lnTo>
                <a:lnTo>
                  <a:pt x="4398121" y="1277620"/>
                </a:lnTo>
                <a:cubicBezTo>
                  <a:pt x="4400582" y="2119048"/>
                  <a:pt x="4403042" y="2960475"/>
                  <a:pt x="4405503" y="3801903"/>
                </a:cubicBezTo>
                <a:lnTo>
                  <a:pt x="2236581" y="5066346"/>
                </a:lnTo>
                <a:lnTo>
                  <a:pt x="21098" y="3815142"/>
                </a:lnTo>
                <a:lnTo>
                  <a:pt x="0" y="1273587"/>
                </a:lnTo>
                <a:close/>
              </a:path>
            </a:pathLst>
          </a:custGeom>
          <a:ln w="19050"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>
                <a:solidFill>
                  <a:schemeClr val="accent6"/>
                </a:solidFill>
              </a:defRPr>
            </a:lvl1pPr>
          </a:lstStyle>
          <a:p>
            <a:r>
              <a:rPr lang="en-GB" altLang="zh-CN"/>
              <a:t>Click icon to add picture</a:t>
            </a:r>
            <a:endParaRPr lang="zh-CN" altLang="en-US"/>
          </a:p>
        </p:txBody>
      </p:sp>
      <p:sp>
        <p:nvSpPr>
          <p:cNvPr id="18" name="Content Placeholder 47">
            <a:extLst>
              <a:ext uri="{FF2B5EF4-FFF2-40B4-BE49-F238E27FC236}">
                <a16:creationId xmlns:a16="http://schemas.microsoft.com/office/drawing/2014/main" id="{DD4E6A9F-7400-917B-6A6B-6BAB445E85F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17427" y="2702560"/>
            <a:ext cx="4959822" cy="25577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500" b="0">
                <a:solidFill>
                  <a:schemeClr val="accent6"/>
                </a:solidFill>
                <a:latin typeface="+mn-lt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 Master text styles </a:t>
            </a:r>
          </a:p>
        </p:txBody>
      </p:sp>
      <p:sp>
        <p:nvSpPr>
          <p:cNvPr id="19" name="Freeform: Shape 25">
            <a:extLst>
              <a:ext uri="{FF2B5EF4-FFF2-40B4-BE49-F238E27FC236}">
                <a16:creationId xmlns:a16="http://schemas.microsoft.com/office/drawing/2014/main" id="{D7BBD3E8-D5DD-C21F-3792-4880373CCDCC}"/>
              </a:ext>
            </a:extLst>
          </p:cNvPr>
          <p:cNvSpPr/>
          <p:nvPr userDrawn="1"/>
        </p:nvSpPr>
        <p:spPr>
          <a:xfrm flipH="1">
            <a:off x="7400972" y="4508725"/>
            <a:ext cx="1347680" cy="1581179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  <a:gd name="connsiteX0" fmla="*/ 2187388 w 4387647"/>
              <a:gd name="connsiteY0" fmla="*/ 0 h 5032188"/>
              <a:gd name="connsiteX1" fmla="*/ 4386729 w 4387647"/>
              <a:gd name="connsiteY1" fmla="*/ 1261035 h 5032188"/>
              <a:gd name="connsiteX2" fmla="*/ 4384192 w 4387647"/>
              <a:gd name="connsiteY2" fmla="*/ 3783287 h 5032188"/>
              <a:gd name="connsiteX3" fmla="*/ 2193365 w 4387647"/>
              <a:gd name="connsiteY3" fmla="*/ 5032188 h 5032188"/>
              <a:gd name="connsiteX4" fmla="*/ 0 w 4387647"/>
              <a:gd name="connsiteY4" fmla="*/ 3783106 h 5032188"/>
              <a:gd name="connsiteX5" fmla="*/ 0 w 4387647"/>
              <a:gd name="connsiteY5" fmla="*/ 1267012 h 5032188"/>
              <a:gd name="connsiteX6" fmla="*/ 2187388 w 4387647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87647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80208" y="2940604"/>
                  <a:pt x="4384192" y="3783287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noFill/>
          <a:ln w="1905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20" name="Freeform: Shape 11">
            <a:extLst>
              <a:ext uri="{FF2B5EF4-FFF2-40B4-BE49-F238E27FC236}">
                <a16:creationId xmlns:a16="http://schemas.microsoft.com/office/drawing/2014/main" id="{FC461D80-0CAC-62E5-726A-63B48BEF3F25}"/>
              </a:ext>
            </a:extLst>
          </p:cNvPr>
          <p:cNvSpPr/>
          <p:nvPr userDrawn="1"/>
        </p:nvSpPr>
        <p:spPr>
          <a:xfrm>
            <a:off x="6521016" y="4772906"/>
            <a:ext cx="663381" cy="758922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98682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94698" y="2946400"/>
                  <a:pt x="4398682" y="3789083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solidFill>
            <a:schemeClr val="accent6">
              <a:lumMod val="10000"/>
              <a:lumOff val="9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Posterama Text SemiBold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4944167-AFE9-AE61-AF44-B9AEE24D17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7427" y="1938688"/>
            <a:ext cx="6975730" cy="758923"/>
          </a:xfrm>
        </p:spPr>
        <p:txBody>
          <a:bodyPr anchor="t">
            <a:noAutofit/>
          </a:bodyPr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5D9A43B3-ACC5-CF39-1BDB-D0BBE56C8D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569088" y="4996146"/>
            <a:ext cx="1011447" cy="7957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32766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with Image">
    <p:bg>
      <p:bgPr>
        <a:solidFill>
          <a:schemeClr val="accent3">
            <a:alpha val="2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EC2501B-DEA6-190E-3633-E32F635B7C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84764" y="1986926"/>
            <a:ext cx="5257793" cy="2057441"/>
          </a:xfrm>
        </p:spPr>
        <p:txBody>
          <a:bodyPr>
            <a:noAutofit/>
          </a:bodyPr>
          <a:lstStyle/>
          <a:p>
            <a:r>
              <a:rPr lang="en-GB" noProof="0"/>
              <a:t>Click to edit Master title style</a:t>
            </a:r>
            <a:endParaRPr lang="en-US" noProof="0" dirty="0"/>
          </a:p>
        </p:txBody>
      </p:sp>
      <p:cxnSp>
        <p:nvCxnSpPr>
          <p:cNvPr id="24" name="Straight Connector 2">
            <a:extLst>
              <a:ext uri="{FF2B5EF4-FFF2-40B4-BE49-F238E27FC236}">
                <a16:creationId xmlns:a16="http://schemas.microsoft.com/office/drawing/2014/main" id="{F1FCCFDB-D985-4322-AC87-F69214893708}"/>
              </a:ext>
            </a:extLst>
          </p:cNvPr>
          <p:cNvCxnSpPr/>
          <p:nvPr userDrawn="1"/>
        </p:nvCxnSpPr>
        <p:spPr>
          <a:xfrm>
            <a:off x="1509005" y="4172084"/>
            <a:ext cx="0" cy="760288"/>
          </a:xfrm>
          <a:prstGeom prst="line">
            <a:avLst/>
          </a:prstGeom>
          <a:noFill/>
          <a:ln w="19050" cap="flat" cmpd="sng" algn="ctr">
            <a:solidFill>
              <a:srgbClr val="00E0D0"/>
            </a:solidFill>
            <a:prstDash val="solid"/>
            <a:miter lim="800000"/>
          </a:ln>
          <a:effectLst/>
        </p:spPr>
      </p:cxnSp>
      <p:sp>
        <p:nvSpPr>
          <p:cNvPr id="27" name="Content placeholder 47" descr="Click icon to add picture">
            <a:extLst>
              <a:ext uri="{FF2B5EF4-FFF2-40B4-BE49-F238E27FC236}">
                <a16:creationId xmlns:a16="http://schemas.microsoft.com/office/drawing/2014/main" id="{EA8265B5-83C5-4AE9-88AB-3F2443B57F0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601365" y="4172084"/>
            <a:ext cx="5092859" cy="76028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800" b="0">
                <a:solidFill>
                  <a:schemeClr val="accent6"/>
                </a:solidFill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noProof="0"/>
              <a:t>Click to edit Master title style </a:t>
            </a:r>
          </a:p>
        </p:txBody>
      </p:sp>
      <p:sp>
        <p:nvSpPr>
          <p:cNvPr id="47" name="Content placeholder 47">
            <a:extLst>
              <a:ext uri="{FF2B5EF4-FFF2-40B4-BE49-F238E27FC236}">
                <a16:creationId xmlns:a16="http://schemas.microsoft.com/office/drawing/2014/main" id="{0FFAAB58-ABE4-41AC-B94E-432936CE0301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6762877" y="1025036"/>
            <a:ext cx="4405503" cy="5066346"/>
          </a:xfrm>
          <a:custGeom>
            <a:avLst/>
            <a:gdLst>
              <a:gd name="connsiteX0" fmla="*/ 0 w 4816475"/>
              <a:gd name="connsiteY0" fmla="*/ 2407444 h 4814888"/>
              <a:gd name="connsiteX1" fmla="*/ 1203722 w 4816475"/>
              <a:gd name="connsiteY1" fmla="*/ 1 h 4814888"/>
              <a:gd name="connsiteX2" fmla="*/ 3612753 w 4816475"/>
              <a:gd name="connsiteY2" fmla="*/ 1 h 4814888"/>
              <a:gd name="connsiteX3" fmla="*/ 4816475 w 4816475"/>
              <a:gd name="connsiteY3" fmla="*/ 2407444 h 4814888"/>
              <a:gd name="connsiteX4" fmla="*/ 3612753 w 4816475"/>
              <a:gd name="connsiteY4" fmla="*/ 4814887 h 4814888"/>
              <a:gd name="connsiteX5" fmla="*/ 1203722 w 4816475"/>
              <a:gd name="connsiteY5" fmla="*/ 4814887 h 4814888"/>
              <a:gd name="connsiteX6" fmla="*/ 0 w 4816475"/>
              <a:gd name="connsiteY6" fmla="*/ 2407444 h 4814888"/>
              <a:gd name="connsiteX0" fmla="*/ 0 w 4816475"/>
              <a:gd name="connsiteY0" fmla="*/ 2407443 h 4814886"/>
              <a:gd name="connsiteX1" fmla="*/ 2199402 w 4816475"/>
              <a:gd name="connsiteY1" fmla="*/ 243840 h 4814886"/>
              <a:gd name="connsiteX2" fmla="*/ 3612753 w 4816475"/>
              <a:gd name="connsiteY2" fmla="*/ 0 h 4814886"/>
              <a:gd name="connsiteX3" fmla="*/ 4816475 w 4816475"/>
              <a:gd name="connsiteY3" fmla="*/ 2407443 h 4814886"/>
              <a:gd name="connsiteX4" fmla="*/ 3612753 w 4816475"/>
              <a:gd name="connsiteY4" fmla="*/ 4814886 h 4814886"/>
              <a:gd name="connsiteX5" fmla="*/ 1203722 w 4816475"/>
              <a:gd name="connsiteY5" fmla="*/ 4814886 h 4814886"/>
              <a:gd name="connsiteX6" fmla="*/ 0 w 4816475"/>
              <a:gd name="connsiteY6" fmla="*/ 2407443 h 4814886"/>
              <a:gd name="connsiteX0" fmla="*/ 0 w 4816475"/>
              <a:gd name="connsiteY0" fmla="*/ 2163603 h 4571046"/>
              <a:gd name="connsiteX1" fmla="*/ 2199402 w 4816475"/>
              <a:gd name="connsiteY1" fmla="*/ 0 h 4571046"/>
              <a:gd name="connsiteX2" fmla="*/ 4608433 w 4816475"/>
              <a:gd name="connsiteY2" fmla="*/ 721360 h 4571046"/>
              <a:gd name="connsiteX3" fmla="*/ 4816475 w 4816475"/>
              <a:gd name="connsiteY3" fmla="*/ 2163603 h 4571046"/>
              <a:gd name="connsiteX4" fmla="*/ 3612753 w 4816475"/>
              <a:gd name="connsiteY4" fmla="*/ 4571046 h 4571046"/>
              <a:gd name="connsiteX5" fmla="*/ 1203722 w 4816475"/>
              <a:gd name="connsiteY5" fmla="*/ 4571046 h 4571046"/>
              <a:gd name="connsiteX6" fmla="*/ 0 w 4816475"/>
              <a:gd name="connsiteY6" fmla="*/ 2163603 h 4571046"/>
              <a:gd name="connsiteX0" fmla="*/ 0 w 4958715"/>
              <a:gd name="connsiteY0" fmla="*/ 2163603 h 4571046"/>
              <a:gd name="connsiteX1" fmla="*/ 2199402 w 4958715"/>
              <a:gd name="connsiteY1" fmla="*/ 0 h 4571046"/>
              <a:gd name="connsiteX2" fmla="*/ 4608433 w 4958715"/>
              <a:gd name="connsiteY2" fmla="*/ 721360 h 4571046"/>
              <a:gd name="connsiteX3" fmla="*/ 4958715 w 4958715"/>
              <a:gd name="connsiteY3" fmla="*/ 2803683 h 4571046"/>
              <a:gd name="connsiteX4" fmla="*/ 3612753 w 4958715"/>
              <a:gd name="connsiteY4" fmla="*/ 4571046 h 4571046"/>
              <a:gd name="connsiteX5" fmla="*/ 1203722 w 4958715"/>
              <a:gd name="connsiteY5" fmla="*/ 4571046 h 4571046"/>
              <a:gd name="connsiteX6" fmla="*/ 0 w 4958715"/>
              <a:gd name="connsiteY6" fmla="*/ 2163603 h 4571046"/>
              <a:gd name="connsiteX0" fmla="*/ 0 w 4916043"/>
              <a:gd name="connsiteY0" fmla="*/ 1273587 h 4571046"/>
              <a:gd name="connsiteX1" fmla="*/ 2156730 w 4916043"/>
              <a:gd name="connsiteY1" fmla="*/ 0 h 4571046"/>
              <a:gd name="connsiteX2" fmla="*/ 4565761 w 4916043"/>
              <a:gd name="connsiteY2" fmla="*/ 721360 h 4571046"/>
              <a:gd name="connsiteX3" fmla="*/ 4916043 w 4916043"/>
              <a:gd name="connsiteY3" fmla="*/ 2803683 h 4571046"/>
              <a:gd name="connsiteX4" fmla="*/ 3570081 w 4916043"/>
              <a:gd name="connsiteY4" fmla="*/ 4571046 h 4571046"/>
              <a:gd name="connsiteX5" fmla="*/ 1161050 w 4916043"/>
              <a:gd name="connsiteY5" fmla="*/ 4571046 h 4571046"/>
              <a:gd name="connsiteX6" fmla="*/ 0 w 4916043"/>
              <a:gd name="connsiteY6" fmla="*/ 1273587 h 4571046"/>
              <a:gd name="connsiteX0" fmla="*/ 0 w 4916043"/>
              <a:gd name="connsiteY0" fmla="*/ 1273587 h 4571046"/>
              <a:gd name="connsiteX1" fmla="*/ 2156730 w 4916043"/>
              <a:gd name="connsiteY1" fmla="*/ 0 h 4571046"/>
              <a:gd name="connsiteX2" fmla="*/ 4565761 w 4916043"/>
              <a:gd name="connsiteY2" fmla="*/ 721360 h 4571046"/>
              <a:gd name="connsiteX3" fmla="*/ 4916043 w 4916043"/>
              <a:gd name="connsiteY3" fmla="*/ 2803683 h 4571046"/>
              <a:gd name="connsiteX4" fmla="*/ 3570081 w 4916043"/>
              <a:gd name="connsiteY4" fmla="*/ 4571046 h 4571046"/>
              <a:gd name="connsiteX5" fmla="*/ 21098 w 4916043"/>
              <a:gd name="connsiteY5" fmla="*/ 3815142 h 4571046"/>
              <a:gd name="connsiteX6" fmla="*/ 0 w 4916043"/>
              <a:gd name="connsiteY6" fmla="*/ 1273587 h 4571046"/>
              <a:gd name="connsiteX0" fmla="*/ 0 w 4916043"/>
              <a:gd name="connsiteY0" fmla="*/ 1273587 h 5066346"/>
              <a:gd name="connsiteX1" fmla="*/ 2156730 w 4916043"/>
              <a:gd name="connsiteY1" fmla="*/ 0 h 5066346"/>
              <a:gd name="connsiteX2" fmla="*/ 4565761 w 4916043"/>
              <a:gd name="connsiteY2" fmla="*/ 721360 h 5066346"/>
              <a:gd name="connsiteX3" fmla="*/ 4916043 w 4916043"/>
              <a:gd name="connsiteY3" fmla="*/ 2803683 h 5066346"/>
              <a:gd name="connsiteX4" fmla="*/ 2236581 w 4916043"/>
              <a:gd name="connsiteY4" fmla="*/ 5066346 h 5066346"/>
              <a:gd name="connsiteX5" fmla="*/ 21098 w 4916043"/>
              <a:gd name="connsiteY5" fmla="*/ 3815142 h 5066346"/>
              <a:gd name="connsiteX6" fmla="*/ 0 w 4916043"/>
              <a:gd name="connsiteY6" fmla="*/ 1273587 h 5066346"/>
              <a:gd name="connsiteX0" fmla="*/ 0 w 4565761"/>
              <a:gd name="connsiteY0" fmla="*/ 1273587 h 5066346"/>
              <a:gd name="connsiteX1" fmla="*/ 2156730 w 4565761"/>
              <a:gd name="connsiteY1" fmla="*/ 0 h 5066346"/>
              <a:gd name="connsiteX2" fmla="*/ 4565761 w 4565761"/>
              <a:gd name="connsiteY2" fmla="*/ 721360 h 5066346"/>
              <a:gd name="connsiteX3" fmla="*/ 4405503 w 4565761"/>
              <a:gd name="connsiteY3" fmla="*/ 3801903 h 5066346"/>
              <a:gd name="connsiteX4" fmla="*/ 2236581 w 4565761"/>
              <a:gd name="connsiteY4" fmla="*/ 5066346 h 5066346"/>
              <a:gd name="connsiteX5" fmla="*/ 21098 w 4565761"/>
              <a:gd name="connsiteY5" fmla="*/ 3815142 h 5066346"/>
              <a:gd name="connsiteX6" fmla="*/ 0 w 4565761"/>
              <a:gd name="connsiteY6" fmla="*/ 1273587 h 5066346"/>
              <a:gd name="connsiteX0" fmla="*/ 0 w 4405503"/>
              <a:gd name="connsiteY0" fmla="*/ 1273587 h 5066346"/>
              <a:gd name="connsiteX1" fmla="*/ 2156730 w 4405503"/>
              <a:gd name="connsiteY1" fmla="*/ 0 h 5066346"/>
              <a:gd name="connsiteX2" fmla="*/ 4398121 w 4405503"/>
              <a:gd name="connsiteY2" fmla="*/ 1277620 h 5066346"/>
              <a:gd name="connsiteX3" fmla="*/ 4405503 w 4405503"/>
              <a:gd name="connsiteY3" fmla="*/ 3801903 h 5066346"/>
              <a:gd name="connsiteX4" fmla="*/ 2236581 w 4405503"/>
              <a:gd name="connsiteY4" fmla="*/ 5066346 h 5066346"/>
              <a:gd name="connsiteX5" fmla="*/ 21098 w 4405503"/>
              <a:gd name="connsiteY5" fmla="*/ 3815142 h 5066346"/>
              <a:gd name="connsiteX6" fmla="*/ 0 w 4405503"/>
              <a:gd name="connsiteY6" fmla="*/ 1273587 h 5066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405503" h="5066346">
                <a:moveTo>
                  <a:pt x="0" y="1273587"/>
                </a:moveTo>
                <a:lnTo>
                  <a:pt x="2156730" y="0"/>
                </a:lnTo>
                <a:lnTo>
                  <a:pt x="4398121" y="1277620"/>
                </a:lnTo>
                <a:cubicBezTo>
                  <a:pt x="4400582" y="2119048"/>
                  <a:pt x="4403042" y="2960475"/>
                  <a:pt x="4405503" y="3801903"/>
                </a:cubicBezTo>
                <a:lnTo>
                  <a:pt x="2236581" y="5066346"/>
                </a:lnTo>
                <a:lnTo>
                  <a:pt x="21098" y="3815142"/>
                </a:lnTo>
                <a:lnTo>
                  <a:pt x="0" y="1273587"/>
                </a:lnTo>
                <a:close/>
              </a:path>
            </a:pathLst>
          </a:custGeom>
          <a:ln w="41275">
            <a:noFill/>
            <a:prstDash val="dash"/>
          </a:ln>
        </p:spPr>
        <p:txBody>
          <a:bodyPr vert="horz" lIns="91440" tIns="45720" rIns="91440" bIns="45720" rtlCol="0" anchor="ctr">
            <a:noAutofit/>
          </a:bodyPr>
          <a:lstStyle>
            <a:lvl1pPr algn="ctr">
              <a:defRPr lang="en-US" altLang="zh-CN" sz="1050" noProof="0" dirty="0"/>
            </a:lvl1pPr>
          </a:lstStyle>
          <a:p>
            <a:pPr marL="0" lvl="0" indent="0">
              <a:buFontTx/>
              <a:buNone/>
            </a:pPr>
            <a:r>
              <a:rPr lang="en-GB" altLang="zh-CN" noProof="0"/>
              <a:t>Click icon to add picture</a:t>
            </a:r>
            <a:endParaRPr lang="en-US" altLang="zh-CN" noProof="0" dirty="0"/>
          </a:p>
        </p:txBody>
      </p:sp>
      <p:sp>
        <p:nvSpPr>
          <p:cNvPr id="9" name="Freeform: Shape 11">
            <a:extLst>
              <a:ext uri="{FF2B5EF4-FFF2-40B4-BE49-F238E27FC236}">
                <a16:creationId xmlns:a16="http://schemas.microsoft.com/office/drawing/2014/main" id="{9ECA281C-F2CB-AE9D-DCD6-F94D3FEE2E67}"/>
              </a:ext>
            </a:extLst>
          </p:cNvPr>
          <p:cNvSpPr/>
          <p:nvPr userDrawn="1"/>
        </p:nvSpPr>
        <p:spPr>
          <a:xfrm>
            <a:off x="7441325" y="5568778"/>
            <a:ext cx="684104" cy="782629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98682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94698" y="2946400"/>
                  <a:pt x="4398682" y="3789083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solidFill>
            <a:schemeClr val="accent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sterama Text SemiBold"/>
              <a:ea typeface="+mn-ea"/>
              <a:cs typeface="+mn-cs"/>
            </a:endParaRPr>
          </a:p>
        </p:txBody>
      </p:sp>
      <p:sp>
        <p:nvSpPr>
          <p:cNvPr id="23" name="Freeform: Shape 11">
            <a:extLst>
              <a:ext uri="{FF2B5EF4-FFF2-40B4-BE49-F238E27FC236}">
                <a16:creationId xmlns:a16="http://schemas.microsoft.com/office/drawing/2014/main" id="{8635CBF7-AEF1-98F3-395E-5FBF0D2C11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358497" y="384518"/>
            <a:ext cx="1637958" cy="1873859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98682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94698" y="2946400"/>
                  <a:pt x="4398682" y="3789083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noFill/>
          <a:ln w="19050" cap="flat" cmpd="sng" algn="ctr">
            <a:solidFill>
              <a:srgbClr val="4BBBC4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sterama Text SemiBold"/>
              <a:ea typeface="+mn-ea"/>
              <a:cs typeface="+mn-cs"/>
            </a:endParaRPr>
          </a:p>
        </p:txBody>
      </p:sp>
      <p:sp>
        <p:nvSpPr>
          <p:cNvPr id="2" name="Freeform: Shape 11">
            <a:extLst>
              <a:ext uri="{FF2B5EF4-FFF2-40B4-BE49-F238E27FC236}">
                <a16:creationId xmlns:a16="http://schemas.microsoft.com/office/drawing/2014/main" id="{F920D226-8E71-809D-2E2A-AE03793E09D3}"/>
              </a:ext>
            </a:extLst>
          </p:cNvPr>
          <p:cNvSpPr/>
          <p:nvPr userDrawn="1"/>
        </p:nvSpPr>
        <p:spPr>
          <a:xfrm>
            <a:off x="9003095" y="5634261"/>
            <a:ext cx="829927" cy="949454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98682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94698" y="2946400"/>
                  <a:pt x="4398682" y="3789083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noFill/>
          <a:ln w="12700" cap="flat" cmpd="sng" algn="ctr">
            <a:gradFill>
              <a:gsLst>
                <a:gs pos="0">
                  <a:srgbClr val="7363A8"/>
                </a:gs>
                <a:gs pos="100000">
                  <a:srgbClr val="E95174"/>
                </a:gs>
              </a:gsLst>
              <a:lin ang="5400000" scaled="1"/>
            </a:gradFill>
            <a:prstDash val="solid"/>
            <a:miter lim="800000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sterama Text SemiBold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224563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28">
          <p15:clr>
            <a:srgbClr val="FBAE40"/>
          </p15:clr>
        </p15:guide>
        <p15:guide id="2" orient="horz" pos="528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7C6FCE-A04B-2BE2-CEC7-3120A877B9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5DE976C-38CF-ED1C-A94F-8DFA3D75E93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E9CAD55-0C05-DE74-D76C-B5A851B8120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8" name="Freeform: Shape 11">
            <a:extLst>
              <a:ext uri="{FF2B5EF4-FFF2-40B4-BE49-F238E27FC236}">
                <a16:creationId xmlns:a16="http://schemas.microsoft.com/office/drawing/2014/main" id="{C7F97852-A9E3-B22B-78BF-5F114EF52994}"/>
              </a:ext>
            </a:extLst>
          </p:cNvPr>
          <p:cNvSpPr/>
          <p:nvPr userDrawn="1"/>
        </p:nvSpPr>
        <p:spPr>
          <a:xfrm rot="18015491">
            <a:off x="10039712" y="125464"/>
            <a:ext cx="663381" cy="758922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98682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94698" y="2946400"/>
                  <a:pt x="4398682" y="3789083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solidFill>
            <a:schemeClr val="accent6">
              <a:lumMod val="10000"/>
              <a:lumOff val="9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Posterama Text SemiBold"/>
              <a:ea typeface="+mn-ea"/>
              <a:cs typeface="+mn-cs"/>
            </a:endParaRPr>
          </a:p>
        </p:txBody>
      </p:sp>
      <p:sp>
        <p:nvSpPr>
          <p:cNvPr id="10" name="Freeform: Shape 11">
            <a:extLst>
              <a:ext uri="{FF2B5EF4-FFF2-40B4-BE49-F238E27FC236}">
                <a16:creationId xmlns:a16="http://schemas.microsoft.com/office/drawing/2014/main" id="{7A3C08F9-5C44-D4B7-DECF-1C9038832BF7}"/>
              </a:ext>
            </a:extLst>
          </p:cNvPr>
          <p:cNvSpPr/>
          <p:nvPr userDrawn="1"/>
        </p:nvSpPr>
        <p:spPr>
          <a:xfrm rot="18015491">
            <a:off x="9798145" y="467471"/>
            <a:ext cx="460067" cy="526326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98682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94698" y="2946400"/>
                  <a:pt x="4398682" y="3789083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noFill/>
          <a:ln w="12700" cap="flat" cmpd="sng" algn="ctr">
            <a:solidFill>
              <a:srgbClr val="E95174"/>
            </a:solidFill>
            <a:prstDash val="solid"/>
            <a:miter lim="800000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Posterama Text SemiBold"/>
              <a:ea typeface="+mn-ea"/>
              <a:cs typeface="+mn-cs"/>
            </a:endParaRPr>
          </a:p>
        </p:txBody>
      </p:sp>
      <p:sp>
        <p:nvSpPr>
          <p:cNvPr id="11" name="Freeform: Shape 25">
            <a:extLst>
              <a:ext uri="{FF2B5EF4-FFF2-40B4-BE49-F238E27FC236}">
                <a16:creationId xmlns:a16="http://schemas.microsoft.com/office/drawing/2014/main" id="{7EF1DDFC-8D29-95FB-1987-E1E6FB4CCED5}"/>
              </a:ext>
            </a:extLst>
          </p:cNvPr>
          <p:cNvSpPr/>
          <p:nvPr userDrawn="1"/>
        </p:nvSpPr>
        <p:spPr>
          <a:xfrm rot="18015491" flipH="1">
            <a:off x="10919668" y="-138717"/>
            <a:ext cx="1347680" cy="1581179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  <a:gd name="connsiteX0" fmla="*/ 2187388 w 4387647"/>
              <a:gd name="connsiteY0" fmla="*/ 0 h 5032188"/>
              <a:gd name="connsiteX1" fmla="*/ 4386729 w 4387647"/>
              <a:gd name="connsiteY1" fmla="*/ 1261035 h 5032188"/>
              <a:gd name="connsiteX2" fmla="*/ 4384192 w 4387647"/>
              <a:gd name="connsiteY2" fmla="*/ 3783287 h 5032188"/>
              <a:gd name="connsiteX3" fmla="*/ 2193365 w 4387647"/>
              <a:gd name="connsiteY3" fmla="*/ 5032188 h 5032188"/>
              <a:gd name="connsiteX4" fmla="*/ 0 w 4387647"/>
              <a:gd name="connsiteY4" fmla="*/ 3783106 h 5032188"/>
              <a:gd name="connsiteX5" fmla="*/ 0 w 4387647"/>
              <a:gd name="connsiteY5" fmla="*/ 1267012 h 5032188"/>
              <a:gd name="connsiteX6" fmla="*/ 2187388 w 4387647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87647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80208" y="2940604"/>
                  <a:pt x="4384192" y="3783287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noFill/>
          <a:ln w="1905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146666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7B841F-8261-C7A3-1CB5-003E1805B2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746568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CD5AF20-2B1C-0A9C-BEB4-04F1438187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1276793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2A0B3B2-DDF5-AD58-9877-D89019D6F7B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346768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8" name="Freeform: Shape 25">
            <a:extLst>
              <a:ext uri="{FF2B5EF4-FFF2-40B4-BE49-F238E27FC236}">
                <a16:creationId xmlns:a16="http://schemas.microsoft.com/office/drawing/2014/main" id="{D16FA326-D4CC-08AA-4FC9-18807EBA98C3}"/>
              </a:ext>
            </a:extLst>
          </p:cNvPr>
          <p:cNvSpPr/>
          <p:nvPr userDrawn="1"/>
        </p:nvSpPr>
        <p:spPr>
          <a:xfrm rot="18015491" flipH="1">
            <a:off x="10919668" y="-138717"/>
            <a:ext cx="1347680" cy="1581179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  <a:gd name="connsiteX0" fmla="*/ 2187388 w 4387647"/>
              <a:gd name="connsiteY0" fmla="*/ 0 h 5032188"/>
              <a:gd name="connsiteX1" fmla="*/ 4386729 w 4387647"/>
              <a:gd name="connsiteY1" fmla="*/ 1261035 h 5032188"/>
              <a:gd name="connsiteX2" fmla="*/ 4384192 w 4387647"/>
              <a:gd name="connsiteY2" fmla="*/ 3783287 h 5032188"/>
              <a:gd name="connsiteX3" fmla="*/ 2193365 w 4387647"/>
              <a:gd name="connsiteY3" fmla="*/ 5032188 h 5032188"/>
              <a:gd name="connsiteX4" fmla="*/ 0 w 4387647"/>
              <a:gd name="connsiteY4" fmla="*/ 3783106 h 5032188"/>
              <a:gd name="connsiteX5" fmla="*/ 0 w 4387647"/>
              <a:gd name="connsiteY5" fmla="*/ 1267012 h 5032188"/>
              <a:gd name="connsiteX6" fmla="*/ 2187388 w 4387647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87647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80208" y="2940604"/>
                  <a:pt x="4384192" y="3783287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noFill/>
          <a:ln w="1905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9" name="Freeform: Shape 11">
            <a:extLst>
              <a:ext uri="{FF2B5EF4-FFF2-40B4-BE49-F238E27FC236}">
                <a16:creationId xmlns:a16="http://schemas.microsoft.com/office/drawing/2014/main" id="{285261D5-A7DA-03E0-5E59-EBCFFF98EBE5}"/>
              </a:ext>
            </a:extLst>
          </p:cNvPr>
          <p:cNvSpPr/>
          <p:nvPr userDrawn="1"/>
        </p:nvSpPr>
        <p:spPr>
          <a:xfrm rot="18015491">
            <a:off x="10039712" y="125464"/>
            <a:ext cx="663381" cy="758922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98682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94698" y="2946400"/>
                  <a:pt x="4398682" y="3789083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solidFill>
            <a:schemeClr val="accent6">
              <a:lumMod val="10000"/>
              <a:lumOff val="9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Posterama Text SemiBold"/>
              <a:ea typeface="+mn-ea"/>
              <a:cs typeface="+mn-cs"/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F00E9D26-3990-AA53-F3E2-E22829E8D84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8015491">
            <a:off x="11235398" y="254008"/>
            <a:ext cx="1011447" cy="795726"/>
          </a:xfrm>
          <a:prstGeom prst="rect">
            <a:avLst/>
          </a:prstGeom>
        </p:spPr>
      </p:pic>
      <p:sp>
        <p:nvSpPr>
          <p:cNvPr id="11" name="Freeform: Shape 11">
            <a:extLst>
              <a:ext uri="{FF2B5EF4-FFF2-40B4-BE49-F238E27FC236}">
                <a16:creationId xmlns:a16="http://schemas.microsoft.com/office/drawing/2014/main" id="{B2B66CD8-D9E0-4BF4-6940-1F150F60AB75}"/>
              </a:ext>
            </a:extLst>
          </p:cNvPr>
          <p:cNvSpPr/>
          <p:nvPr userDrawn="1"/>
        </p:nvSpPr>
        <p:spPr>
          <a:xfrm rot="18015491">
            <a:off x="9790948" y="765097"/>
            <a:ext cx="460067" cy="526326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98682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94698" y="2946400"/>
                  <a:pt x="4398682" y="3789083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solidFill>
            <a:srgbClr val="DCD3CC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Posterama Text SemiBold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966585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Hexagon 17">
            <a:extLst>
              <a:ext uri="{FF2B5EF4-FFF2-40B4-BE49-F238E27FC236}">
                <a16:creationId xmlns:a16="http://schemas.microsoft.com/office/drawing/2014/main" id="{18B06ECC-5FA7-4ACA-86BF-694240D0C05B}"/>
              </a:ext>
            </a:extLst>
          </p:cNvPr>
          <p:cNvSpPr/>
          <p:nvPr userDrawn="1"/>
        </p:nvSpPr>
        <p:spPr>
          <a:xfrm>
            <a:off x="412218" y="1136470"/>
            <a:ext cx="1455521" cy="1266696"/>
          </a:xfrm>
          <a:prstGeom prst="hexagon">
            <a:avLst>
              <a:gd name="adj" fmla="val 28413"/>
              <a:gd name="vf" fmla="val 11547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11" name="Hexagon 19">
            <a:extLst>
              <a:ext uri="{FF2B5EF4-FFF2-40B4-BE49-F238E27FC236}">
                <a16:creationId xmlns:a16="http://schemas.microsoft.com/office/drawing/2014/main" id="{089AA305-8FFC-46A5-B806-D5D78320D0CD}"/>
              </a:ext>
            </a:extLst>
          </p:cNvPr>
          <p:cNvSpPr/>
          <p:nvPr userDrawn="1"/>
        </p:nvSpPr>
        <p:spPr>
          <a:xfrm>
            <a:off x="1580070" y="1812437"/>
            <a:ext cx="1455521" cy="1266696"/>
          </a:xfrm>
          <a:prstGeom prst="hexagon">
            <a:avLst>
              <a:gd name="adj" fmla="val 28413"/>
              <a:gd name="vf" fmla="val 11547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12" name="Hexagon 21">
            <a:extLst>
              <a:ext uri="{FF2B5EF4-FFF2-40B4-BE49-F238E27FC236}">
                <a16:creationId xmlns:a16="http://schemas.microsoft.com/office/drawing/2014/main" id="{DB2D65ED-32BC-44B2-92F3-E16717051CA1}"/>
              </a:ext>
            </a:extLst>
          </p:cNvPr>
          <p:cNvSpPr/>
          <p:nvPr userDrawn="1"/>
        </p:nvSpPr>
        <p:spPr>
          <a:xfrm>
            <a:off x="3953935" y="3182793"/>
            <a:ext cx="1455521" cy="1266696"/>
          </a:xfrm>
          <a:prstGeom prst="hexagon">
            <a:avLst>
              <a:gd name="adj" fmla="val 28413"/>
              <a:gd name="vf" fmla="val 115470"/>
            </a:avLst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44" name="Freeform 43">
            <a:extLst>
              <a:ext uri="{FF2B5EF4-FFF2-40B4-BE49-F238E27FC236}">
                <a16:creationId xmlns:a16="http://schemas.microsoft.com/office/drawing/2014/main" id="{6100186E-95B0-AB29-6F1D-DBFBAA566DB2}"/>
              </a:ext>
            </a:extLst>
          </p:cNvPr>
          <p:cNvSpPr/>
          <p:nvPr userDrawn="1"/>
        </p:nvSpPr>
        <p:spPr>
          <a:xfrm>
            <a:off x="3955762" y="5952136"/>
            <a:ext cx="1455521" cy="932559"/>
          </a:xfrm>
          <a:custGeom>
            <a:avLst/>
            <a:gdLst>
              <a:gd name="connsiteX0" fmla="*/ 359906 w 1455521"/>
              <a:gd name="connsiteY0" fmla="*/ 0 h 932559"/>
              <a:gd name="connsiteX1" fmla="*/ 1095615 w 1455521"/>
              <a:gd name="connsiteY1" fmla="*/ 0 h 932559"/>
              <a:gd name="connsiteX2" fmla="*/ 1455521 w 1455521"/>
              <a:gd name="connsiteY2" fmla="*/ 633348 h 932559"/>
              <a:gd name="connsiteX3" fmla="*/ 1285492 w 1455521"/>
              <a:gd name="connsiteY3" fmla="*/ 932559 h 932559"/>
              <a:gd name="connsiteX4" fmla="*/ 170030 w 1455521"/>
              <a:gd name="connsiteY4" fmla="*/ 932559 h 932559"/>
              <a:gd name="connsiteX5" fmla="*/ 0 w 1455521"/>
              <a:gd name="connsiteY5" fmla="*/ 633348 h 9325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55521" h="932559">
                <a:moveTo>
                  <a:pt x="359906" y="0"/>
                </a:moveTo>
                <a:lnTo>
                  <a:pt x="1095615" y="0"/>
                </a:lnTo>
                <a:lnTo>
                  <a:pt x="1455521" y="633348"/>
                </a:lnTo>
                <a:lnTo>
                  <a:pt x="1285492" y="932559"/>
                </a:lnTo>
                <a:lnTo>
                  <a:pt x="170030" y="932559"/>
                </a:lnTo>
                <a:lnTo>
                  <a:pt x="0" y="633348"/>
                </a:lnTo>
                <a:close/>
              </a:path>
            </a:pathLst>
          </a:cu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14" name="Hexagon 27">
            <a:extLst>
              <a:ext uri="{FF2B5EF4-FFF2-40B4-BE49-F238E27FC236}">
                <a16:creationId xmlns:a16="http://schemas.microsoft.com/office/drawing/2014/main" id="{5275D449-7441-440B-8584-96D25256F24D}"/>
              </a:ext>
            </a:extLst>
          </p:cNvPr>
          <p:cNvSpPr/>
          <p:nvPr userDrawn="1"/>
        </p:nvSpPr>
        <p:spPr>
          <a:xfrm>
            <a:off x="2783996" y="5245443"/>
            <a:ext cx="1455521" cy="1266696"/>
          </a:xfrm>
          <a:prstGeom prst="hexagon">
            <a:avLst>
              <a:gd name="adj" fmla="val 28413"/>
              <a:gd name="vf" fmla="val 115470"/>
            </a:avLst>
          </a:prstGeom>
          <a:solidFill>
            <a:srgbClr val="E9517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15" name="Hexagon 28">
            <a:extLst>
              <a:ext uri="{FF2B5EF4-FFF2-40B4-BE49-F238E27FC236}">
                <a16:creationId xmlns:a16="http://schemas.microsoft.com/office/drawing/2014/main" id="{94CFCD79-F5CD-4175-96DE-1AC2E1999DB6}"/>
              </a:ext>
            </a:extLst>
          </p:cNvPr>
          <p:cNvSpPr/>
          <p:nvPr userDrawn="1"/>
        </p:nvSpPr>
        <p:spPr>
          <a:xfrm>
            <a:off x="2767144" y="3880620"/>
            <a:ext cx="1455521" cy="1266696"/>
          </a:xfrm>
          <a:prstGeom prst="hexagon">
            <a:avLst>
              <a:gd name="adj" fmla="val 28413"/>
              <a:gd name="vf" fmla="val 115470"/>
            </a:avLst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18" name="Hexagon 31">
            <a:extLst>
              <a:ext uri="{FF2B5EF4-FFF2-40B4-BE49-F238E27FC236}">
                <a16:creationId xmlns:a16="http://schemas.microsoft.com/office/drawing/2014/main" id="{61BB4AB0-7C5C-4697-A25B-0AFD8754AB52}"/>
              </a:ext>
            </a:extLst>
          </p:cNvPr>
          <p:cNvSpPr/>
          <p:nvPr userDrawn="1"/>
        </p:nvSpPr>
        <p:spPr>
          <a:xfrm>
            <a:off x="1580353" y="3182793"/>
            <a:ext cx="1455521" cy="1266696"/>
          </a:xfrm>
          <a:prstGeom prst="hexagon">
            <a:avLst>
              <a:gd name="adj" fmla="val 28413"/>
              <a:gd name="vf" fmla="val 115470"/>
            </a:avLst>
          </a:prstGeom>
          <a:noFill/>
          <a:ln w="1905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46" name="Freeform 45">
            <a:extLst>
              <a:ext uri="{FF2B5EF4-FFF2-40B4-BE49-F238E27FC236}">
                <a16:creationId xmlns:a16="http://schemas.microsoft.com/office/drawing/2014/main" id="{2363FF00-E570-D743-258E-E9FEF4F02A08}"/>
              </a:ext>
            </a:extLst>
          </p:cNvPr>
          <p:cNvSpPr/>
          <p:nvPr userDrawn="1"/>
        </p:nvSpPr>
        <p:spPr>
          <a:xfrm>
            <a:off x="6334981" y="5962237"/>
            <a:ext cx="1455521" cy="901561"/>
          </a:xfrm>
          <a:custGeom>
            <a:avLst/>
            <a:gdLst>
              <a:gd name="connsiteX0" fmla="*/ 359906 w 1455521"/>
              <a:gd name="connsiteY0" fmla="*/ 0 h 901561"/>
              <a:gd name="connsiteX1" fmla="*/ 1095615 w 1455521"/>
              <a:gd name="connsiteY1" fmla="*/ 0 h 901561"/>
              <a:gd name="connsiteX2" fmla="*/ 1455521 w 1455521"/>
              <a:gd name="connsiteY2" fmla="*/ 633348 h 901561"/>
              <a:gd name="connsiteX3" fmla="*/ 1303107 w 1455521"/>
              <a:gd name="connsiteY3" fmla="*/ 901561 h 901561"/>
              <a:gd name="connsiteX4" fmla="*/ 152415 w 1455521"/>
              <a:gd name="connsiteY4" fmla="*/ 901561 h 901561"/>
              <a:gd name="connsiteX5" fmla="*/ 0 w 1455521"/>
              <a:gd name="connsiteY5" fmla="*/ 633348 h 9015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55521" h="901561">
                <a:moveTo>
                  <a:pt x="359906" y="0"/>
                </a:moveTo>
                <a:lnTo>
                  <a:pt x="1095615" y="0"/>
                </a:lnTo>
                <a:lnTo>
                  <a:pt x="1455521" y="633348"/>
                </a:lnTo>
                <a:lnTo>
                  <a:pt x="1303107" y="901561"/>
                </a:lnTo>
                <a:lnTo>
                  <a:pt x="152415" y="901561"/>
                </a:lnTo>
                <a:lnTo>
                  <a:pt x="0" y="633348"/>
                </a:lnTo>
                <a:close/>
              </a:path>
            </a:pathLst>
          </a:custGeom>
          <a:noFill/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28" name="Content Placeholder 47">
            <a:extLst>
              <a:ext uri="{FF2B5EF4-FFF2-40B4-BE49-F238E27FC236}">
                <a16:creationId xmlns:a16="http://schemas.microsoft.com/office/drawing/2014/main" id="{073CD90F-1E45-47EC-B558-D5F638F5FE6F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2773677" y="1086206"/>
            <a:ext cx="1465840" cy="1289394"/>
          </a:xfrm>
          <a:prstGeom prst="hexagon">
            <a:avLst>
              <a:gd name="adj" fmla="val 28349"/>
              <a:gd name="vf" fmla="val 115470"/>
            </a:avLst>
          </a:prstGeom>
          <a:ln w="12700">
            <a:noFill/>
          </a:ln>
        </p:spPr>
        <p:txBody>
          <a:bodyPr>
            <a:noAutofit/>
          </a:bodyPr>
          <a:lstStyle>
            <a:lvl1pPr marL="0" indent="0" algn="l">
              <a:buFontTx/>
              <a:buNone/>
              <a:defRPr sz="1050">
                <a:solidFill>
                  <a:schemeClr val="accent6"/>
                </a:solidFill>
              </a:defRPr>
            </a:lvl1pPr>
          </a:lstStyle>
          <a:p>
            <a:r>
              <a:rPr lang="en-GB" altLang="zh-CN"/>
              <a:t>Click icon to add picture</a:t>
            </a:r>
            <a:endParaRPr lang="en-US" altLang="zh-CN" dirty="0"/>
          </a:p>
        </p:txBody>
      </p:sp>
      <p:sp>
        <p:nvSpPr>
          <p:cNvPr id="29" name="Content Placeholder 47">
            <a:extLst>
              <a:ext uri="{FF2B5EF4-FFF2-40B4-BE49-F238E27FC236}">
                <a16:creationId xmlns:a16="http://schemas.microsoft.com/office/drawing/2014/main" id="{9A501203-35D0-41A5-A2A4-9F05FAB495C4}"/>
              </a:ext>
            </a:extLst>
          </p:cNvPr>
          <p:cNvSpPr>
            <a:spLocks noGrp="1"/>
          </p:cNvSpPr>
          <p:nvPr>
            <p:ph type="pic" sz="quarter" idx="49"/>
          </p:nvPr>
        </p:nvSpPr>
        <p:spPr>
          <a:xfrm>
            <a:off x="391110" y="2493385"/>
            <a:ext cx="1465840" cy="1289394"/>
          </a:xfrm>
          <a:prstGeom prst="hexagon">
            <a:avLst>
              <a:gd name="adj" fmla="val 28349"/>
              <a:gd name="vf" fmla="val 115470"/>
            </a:avLst>
          </a:prstGeom>
          <a:ln>
            <a:noFill/>
          </a:ln>
        </p:spPr>
        <p:txBody>
          <a:bodyPr>
            <a:noAutofit/>
          </a:bodyPr>
          <a:lstStyle>
            <a:lvl1pPr marL="0" indent="0" algn="l">
              <a:buFontTx/>
              <a:buNone/>
              <a:defRPr sz="1050">
                <a:solidFill>
                  <a:schemeClr val="accent6"/>
                </a:solidFill>
              </a:defRPr>
            </a:lvl1pPr>
          </a:lstStyle>
          <a:p>
            <a:r>
              <a:rPr lang="en-GB" altLang="zh-CN"/>
              <a:t>Click icon to add picture</a:t>
            </a:r>
            <a:endParaRPr lang="en-US" altLang="zh-CN" dirty="0"/>
          </a:p>
        </p:txBody>
      </p:sp>
      <p:sp>
        <p:nvSpPr>
          <p:cNvPr id="30" name="Content Placeholder 47">
            <a:extLst>
              <a:ext uri="{FF2B5EF4-FFF2-40B4-BE49-F238E27FC236}">
                <a16:creationId xmlns:a16="http://schemas.microsoft.com/office/drawing/2014/main" id="{1FA62038-8BB7-45FD-896E-34738A5578BD}"/>
              </a:ext>
            </a:extLst>
          </p:cNvPr>
          <p:cNvSpPr>
            <a:spLocks noGrp="1"/>
          </p:cNvSpPr>
          <p:nvPr>
            <p:ph type="pic" sz="quarter" idx="50"/>
          </p:nvPr>
        </p:nvSpPr>
        <p:spPr>
          <a:xfrm>
            <a:off x="5151412" y="5238680"/>
            <a:ext cx="1465840" cy="1289394"/>
          </a:xfrm>
          <a:prstGeom prst="hexagon">
            <a:avLst>
              <a:gd name="adj" fmla="val 28349"/>
              <a:gd name="vf" fmla="val 115470"/>
            </a:avLst>
          </a:prstGeom>
          <a:ln w="12700">
            <a:noFill/>
          </a:ln>
        </p:spPr>
        <p:txBody>
          <a:bodyPr>
            <a:noAutofit/>
          </a:bodyPr>
          <a:lstStyle>
            <a:lvl1pPr marL="0" indent="0" algn="l">
              <a:buFontTx/>
              <a:buNone/>
              <a:defRPr sz="1050">
                <a:solidFill>
                  <a:schemeClr val="accent6"/>
                </a:solidFill>
              </a:defRPr>
            </a:lvl1pPr>
          </a:lstStyle>
          <a:p>
            <a:r>
              <a:rPr lang="en-GB" altLang="zh-CN"/>
              <a:t>Click icon to add picture</a:t>
            </a:r>
            <a:endParaRPr lang="en-US" altLang="zh-CN" dirty="0"/>
          </a:p>
        </p:txBody>
      </p:sp>
      <p:sp>
        <p:nvSpPr>
          <p:cNvPr id="31" name="Content Placeholder 47">
            <a:extLst>
              <a:ext uri="{FF2B5EF4-FFF2-40B4-BE49-F238E27FC236}">
                <a16:creationId xmlns:a16="http://schemas.microsoft.com/office/drawing/2014/main" id="{9A7E0EE6-5885-489B-81A9-65DBC0016938}"/>
              </a:ext>
            </a:extLst>
          </p:cNvPr>
          <p:cNvSpPr>
            <a:spLocks noGrp="1"/>
          </p:cNvSpPr>
          <p:nvPr>
            <p:ph type="pic" sz="quarter" idx="51"/>
          </p:nvPr>
        </p:nvSpPr>
        <p:spPr>
          <a:xfrm>
            <a:off x="1543386" y="4559473"/>
            <a:ext cx="1465840" cy="1289394"/>
          </a:xfrm>
          <a:prstGeom prst="hexagon">
            <a:avLst>
              <a:gd name="adj" fmla="val 28349"/>
              <a:gd name="vf" fmla="val 115470"/>
            </a:avLst>
          </a:prstGeom>
          <a:ln w="12700">
            <a:noFill/>
          </a:ln>
        </p:spPr>
        <p:txBody>
          <a:bodyPr>
            <a:noAutofit/>
          </a:bodyPr>
          <a:lstStyle>
            <a:lvl1pPr marL="0" indent="0" algn="l">
              <a:buFontTx/>
              <a:buNone/>
              <a:defRPr sz="1050">
                <a:solidFill>
                  <a:schemeClr val="accent6"/>
                </a:solidFill>
              </a:defRPr>
            </a:lvl1pPr>
          </a:lstStyle>
          <a:p>
            <a:r>
              <a:rPr lang="en-GB" altLang="zh-CN"/>
              <a:t>Click icon to add picture</a:t>
            </a:r>
            <a:endParaRPr lang="en-US" altLang="zh-CN" dirty="0"/>
          </a:p>
        </p:txBody>
      </p:sp>
      <p:sp>
        <p:nvSpPr>
          <p:cNvPr id="21" name="Content Placeholder 47" descr="Click icon to add picture">
            <a:extLst>
              <a:ext uri="{FF2B5EF4-FFF2-40B4-BE49-F238E27FC236}">
                <a16:creationId xmlns:a16="http://schemas.microsoft.com/office/drawing/2014/main" id="{B7E46D91-6194-E279-CAE3-425E21FD4A8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431280" y="2119250"/>
            <a:ext cx="5028261" cy="959883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>
                <a:solidFill>
                  <a:schemeClr val="accent6"/>
                </a:solidFill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 Master title style 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4722C9EB-D452-B3DF-5219-160F48DE78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1280" y="728798"/>
            <a:ext cx="5028261" cy="1325563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40" name="Freeform 39">
            <a:extLst>
              <a:ext uri="{FF2B5EF4-FFF2-40B4-BE49-F238E27FC236}">
                <a16:creationId xmlns:a16="http://schemas.microsoft.com/office/drawing/2014/main" id="{E3C8467A-0A34-2A65-92FE-F12F6A3D84A6}"/>
              </a:ext>
            </a:extLst>
          </p:cNvPr>
          <p:cNvSpPr/>
          <p:nvPr userDrawn="1"/>
        </p:nvSpPr>
        <p:spPr>
          <a:xfrm>
            <a:off x="-6538" y="1815084"/>
            <a:ext cx="697438" cy="1266696"/>
          </a:xfrm>
          <a:custGeom>
            <a:avLst/>
            <a:gdLst>
              <a:gd name="connsiteX0" fmla="*/ 0 w 732607"/>
              <a:gd name="connsiteY0" fmla="*/ 0 h 1266696"/>
              <a:gd name="connsiteX1" fmla="*/ 372701 w 732607"/>
              <a:gd name="connsiteY1" fmla="*/ 0 h 1266696"/>
              <a:gd name="connsiteX2" fmla="*/ 732607 w 732607"/>
              <a:gd name="connsiteY2" fmla="*/ 633348 h 1266696"/>
              <a:gd name="connsiteX3" fmla="*/ 372701 w 732607"/>
              <a:gd name="connsiteY3" fmla="*/ 1266696 h 1266696"/>
              <a:gd name="connsiteX4" fmla="*/ 0 w 732607"/>
              <a:gd name="connsiteY4" fmla="*/ 1266696 h 1266696"/>
              <a:gd name="connsiteX0" fmla="*/ 43961 w 732607"/>
              <a:gd name="connsiteY0" fmla="*/ 8793 h 1266696"/>
              <a:gd name="connsiteX1" fmla="*/ 372701 w 732607"/>
              <a:gd name="connsiteY1" fmla="*/ 0 h 1266696"/>
              <a:gd name="connsiteX2" fmla="*/ 732607 w 732607"/>
              <a:gd name="connsiteY2" fmla="*/ 633348 h 1266696"/>
              <a:gd name="connsiteX3" fmla="*/ 372701 w 732607"/>
              <a:gd name="connsiteY3" fmla="*/ 1266696 h 1266696"/>
              <a:gd name="connsiteX4" fmla="*/ 0 w 732607"/>
              <a:gd name="connsiteY4" fmla="*/ 1266696 h 1266696"/>
              <a:gd name="connsiteX5" fmla="*/ 43961 w 732607"/>
              <a:gd name="connsiteY5" fmla="*/ 8793 h 1266696"/>
              <a:gd name="connsiteX0" fmla="*/ 8792 w 697438"/>
              <a:gd name="connsiteY0" fmla="*/ 8793 h 1266696"/>
              <a:gd name="connsiteX1" fmla="*/ 337532 w 697438"/>
              <a:gd name="connsiteY1" fmla="*/ 0 h 1266696"/>
              <a:gd name="connsiteX2" fmla="*/ 697438 w 697438"/>
              <a:gd name="connsiteY2" fmla="*/ 633348 h 1266696"/>
              <a:gd name="connsiteX3" fmla="*/ 337532 w 697438"/>
              <a:gd name="connsiteY3" fmla="*/ 1266696 h 1266696"/>
              <a:gd name="connsiteX4" fmla="*/ 0 w 697438"/>
              <a:gd name="connsiteY4" fmla="*/ 1266696 h 1266696"/>
              <a:gd name="connsiteX5" fmla="*/ 8792 w 697438"/>
              <a:gd name="connsiteY5" fmla="*/ 8793 h 12666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97438" h="1266696">
                <a:moveTo>
                  <a:pt x="8792" y="8793"/>
                </a:moveTo>
                <a:lnTo>
                  <a:pt x="337532" y="0"/>
                </a:lnTo>
                <a:lnTo>
                  <a:pt x="697438" y="633348"/>
                </a:lnTo>
                <a:lnTo>
                  <a:pt x="337532" y="1266696"/>
                </a:lnTo>
                <a:lnTo>
                  <a:pt x="0" y="1266696"/>
                </a:lnTo>
                <a:cubicBezTo>
                  <a:pt x="0" y="844464"/>
                  <a:pt x="8792" y="431025"/>
                  <a:pt x="8792" y="8793"/>
                </a:cubicBezTo>
                <a:close/>
              </a:path>
            </a:pathLst>
          </a:custGeom>
          <a:noFill/>
          <a:ln w="19050">
            <a:solidFill>
              <a:srgbClr val="E9517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chemeClr val="accent6"/>
              </a:solidFill>
            </a:endParaRPr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5B3D54F5-515B-48DC-585D-B61486F4718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6700454">
            <a:off x="1625647" y="3395656"/>
            <a:ext cx="996434" cy="783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733420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5771B9C-7F80-112D-55FE-96A7F1D573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Picture 3" descr="Blue text on a black background&#10;&#10;AI-generated content may be incorrect.">
            <a:extLst>
              <a:ext uri="{FF2B5EF4-FFF2-40B4-BE49-F238E27FC236}">
                <a16:creationId xmlns:a16="http://schemas.microsoft.com/office/drawing/2014/main" id="{C268DB5E-29D3-B5B6-0FEE-60C561F4655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4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06625" y="2277110"/>
            <a:ext cx="4569872" cy="2020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929430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0259642E-DAE4-3CDB-B869-A1EB3385AC0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584200" y="2425780"/>
            <a:ext cx="5577840" cy="1107996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000" b="0" kern="1200" cap="none" spc="-50" baseline="0" dirty="0">
                <a:ln w="3175">
                  <a:noFill/>
                </a:ln>
                <a:solidFill>
                  <a:srgbClr val="0E4987"/>
                </a:solidFill>
                <a:effectLst/>
                <a:latin typeface="Segoe Sans Display Semibold" pitchFamily="2" charset="0"/>
                <a:ea typeface="+mn-ea"/>
                <a:cs typeface="Segoe Sans Display Semibold" pitchFamily="2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 dirty="0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84200" y="3962399"/>
            <a:ext cx="4480560" cy="548640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800" spc="0" baseline="0">
                <a:solidFill>
                  <a:schemeClr val="bg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peaker name or subtitle text</a:t>
            </a:r>
          </a:p>
        </p:txBody>
      </p:sp>
      <p:pic>
        <p:nvPicPr>
          <p:cNvPr id="10" name="MS logo gray - EMF" descr="Microsoft logo, gray text version">
            <a:extLst>
              <a:ext uri="{FF2B5EF4-FFF2-40B4-BE49-F238E27FC236}">
                <a16:creationId xmlns:a16="http://schemas.microsoft.com/office/drawing/2014/main" id="{0B239259-0303-68D8-B73B-ADBE8E17A70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1900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44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2">
    <p:bg>
      <p:bgPr>
        <a:solidFill>
          <a:srgbClr val="E1D3C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18223"/>
            <a:ext cx="9144000" cy="615553"/>
          </a:xfrm>
          <a:noFill/>
        </p:spPr>
        <p:txBody>
          <a:bodyPr lIns="0" tIns="0" rIns="0" bIns="0" anchor="b" anchorCtr="0">
            <a:spAutoFit/>
          </a:bodyPr>
          <a:lstStyle>
            <a:lvl1pPr>
              <a:defRPr sz="4000" spc="-50" baseline="0">
                <a:solidFill>
                  <a:schemeClr val="tx1"/>
                </a:solidFill>
                <a:latin typeface="Segoe Sans Display Semibold" pitchFamily="2" charset="0"/>
                <a:cs typeface="Segoe Sans Display Semibold" pitchFamily="2" charset="0"/>
              </a:defRPr>
            </a:lvl1pPr>
          </a:lstStyle>
          <a:p>
            <a:r>
              <a:rPr lang="en-US" dirty="0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9144000" cy="276999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800" spc="0" baseline="0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peaker name or subtitle text</a:t>
            </a:r>
          </a:p>
        </p:txBody>
      </p:sp>
      <p:pic>
        <p:nvPicPr>
          <p:cNvPr id="6" name="MS logo gray - EMF" descr="Microsoft logo, gray text version">
            <a:extLst>
              <a:ext uri="{FF2B5EF4-FFF2-40B4-BE49-F238E27FC236}">
                <a16:creationId xmlns:a16="http://schemas.microsoft.com/office/drawing/2014/main" id="{3B0D12AE-ADCF-1091-117F-BB03F7EC506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07085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eme 1 - Light with title">
    <p:bg>
      <p:bgPr>
        <a:solidFill>
          <a:srgbClr val="F5F5F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E3DD82-FC40-C843-193F-F757422AB0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9820236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61">
          <p15:clr>
            <a:srgbClr val="A4A3A4"/>
          </p15:clr>
        </p15:guide>
        <p15:guide id="15" pos="3348">
          <p15:clr>
            <a:srgbClr val="A4A3A4"/>
          </p15:clr>
        </p15:guide>
        <p15:guide id="16" pos="3754">
          <p15:clr>
            <a:srgbClr val="A4A3A4"/>
          </p15:clr>
        </p15:guide>
        <p15:guide id="17" pos="3931">
          <p15:clr>
            <a:srgbClr val="A4A3A4"/>
          </p15:clr>
        </p15:guide>
        <p15:guide id="18" pos="4342">
          <p15:clr>
            <a:srgbClr val="A4A3A4"/>
          </p15:clr>
        </p15:guide>
        <p15:guide id="19" pos="4531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eme 1 - Light with title left">
    <p:bg>
      <p:bgPr>
        <a:solidFill>
          <a:srgbClr val="F5F5F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E3DD82-FC40-C843-193F-F757422AB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2" y="2875002"/>
            <a:ext cx="4123944" cy="1106424"/>
          </a:xfrm>
        </p:spPr>
        <p:txBody>
          <a:bodyPr wrap="square" anchor="ctr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631055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61">
          <p15:clr>
            <a:srgbClr val="A4A3A4"/>
          </p15:clr>
        </p15:guide>
        <p15:guide id="15" pos="3348">
          <p15:clr>
            <a:srgbClr val="A4A3A4"/>
          </p15:clr>
        </p15:guide>
        <p15:guide id="16" pos="3754">
          <p15:clr>
            <a:srgbClr val="A4A3A4"/>
          </p15:clr>
        </p15:guide>
        <p15:guide id="17" pos="3931">
          <p15:clr>
            <a:srgbClr val="A4A3A4"/>
          </p15:clr>
        </p15:guide>
        <p15:guide id="18" pos="4342">
          <p15:clr>
            <a:srgbClr val="A4A3A4"/>
          </p15:clr>
        </p15:guide>
        <p15:guide id="19" pos="4531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eme 1 - Light blank">
    <p:bg>
      <p:bgPr>
        <a:solidFill>
          <a:srgbClr val="F5F5F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9259654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61">
          <p15:clr>
            <a:srgbClr val="A4A3A4"/>
          </p15:clr>
        </p15:guide>
        <p15:guide id="15" pos="3348">
          <p15:clr>
            <a:srgbClr val="A4A3A4"/>
          </p15:clr>
        </p15:guide>
        <p15:guide id="16" pos="3754">
          <p15:clr>
            <a:srgbClr val="A4A3A4"/>
          </p15:clr>
        </p15:guide>
        <p15:guide id="17" pos="3931">
          <p15:clr>
            <a:srgbClr val="A4A3A4"/>
          </p15:clr>
        </p15:guide>
        <p15:guide id="18" pos="4342">
          <p15:clr>
            <a:srgbClr val="A4A3A4"/>
          </p15:clr>
        </p15:guide>
        <p15:guide id="19" pos="4531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8A212C2-8B30-4835-8711-AA981B6CFBE1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84200" y="1435100"/>
            <a:ext cx="11018838" cy="48339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F9662A5-6E2F-47B0-9B6E-E87983D375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 dirty="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139757254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peaker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Hexagon 17">
            <a:extLst>
              <a:ext uri="{FF2B5EF4-FFF2-40B4-BE49-F238E27FC236}">
                <a16:creationId xmlns:a16="http://schemas.microsoft.com/office/drawing/2014/main" id="{18B06ECC-5FA7-4ACA-86BF-694240D0C05B}"/>
              </a:ext>
            </a:extLst>
          </p:cNvPr>
          <p:cNvSpPr/>
          <p:nvPr userDrawn="1"/>
        </p:nvSpPr>
        <p:spPr>
          <a:xfrm>
            <a:off x="412218" y="1119692"/>
            <a:ext cx="1455521" cy="1266696"/>
          </a:xfrm>
          <a:prstGeom prst="hexagon">
            <a:avLst>
              <a:gd name="adj" fmla="val 28413"/>
              <a:gd name="vf" fmla="val 11547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11" name="Hexagon 19">
            <a:extLst>
              <a:ext uri="{FF2B5EF4-FFF2-40B4-BE49-F238E27FC236}">
                <a16:creationId xmlns:a16="http://schemas.microsoft.com/office/drawing/2014/main" id="{089AA305-8FFC-46A5-B806-D5D78320D0CD}"/>
              </a:ext>
            </a:extLst>
          </p:cNvPr>
          <p:cNvSpPr/>
          <p:nvPr userDrawn="1"/>
        </p:nvSpPr>
        <p:spPr>
          <a:xfrm>
            <a:off x="1580070" y="1812437"/>
            <a:ext cx="1455521" cy="1266696"/>
          </a:xfrm>
          <a:prstGeom prst="hexagon">
            <a:avLst>
              <a:gd name="adj" fmla="val 28413"/>
              <a:gd name="vf" fmla="val 11547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12" name="Hexagon 21">
            <a:extLst>
              <a:ext uri="{FF2B5EF4-FFF2-40B4-BE49-F238E27FC236}">
                <a16:creationId xmlns:a16="http://schemas.microsoft.com/office/drawing/2014/main" id="{DB2D65ED-32BC-44B2-92F3-E16717051CA1}"/>
              </a:ext>
            </a:extLst>
          </p:cNvPr>
          <p:cNvSpPr/>
          <p:nvPr userDrawn="1"/>
        </p:nvSpPr>
        <p:spPr>
          <a:xfrm>
            <a:off x="3953935" y="3182793"/>
            <a:ext cx="1455521" cy="1266696"/>
          </a:xfrm>
          <a:prstGeom prst="hexagon">
            <a:avLst>
              <a:gd name="adj" fmla="val 28413"/>
              <a:gd name="vf" fmla="val 115470"/>
            </a:avLst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44" name="Freeform 43">
            <a:extLst>
              <a:ext uri="{FF2B5EF4-FFF2-40B4-BE49-F238E27FC236}">
                <a16:creationId xmlns:a16="http://schemas.microsoft.com/office/drawing/2014/main" id="{6100186E-95B0-AB29-6F1D-DBFBAA566DB2}"/>
              </a:ext>
            </a:extLst>
          </p:cNvPr>
          <p:cNvSpPr/>
          <p:nvPr userDrawn="1"/>
        </p:nvSpPr>
        <p:spPr>
          <a:xfrm>
            <a:off x="3955762" y="5952136"/>
            <a:ext cx="1455521" cy="932559"/>
          </a:xfrm>
          <a:custGeom>
            <a:avLst/>
            <a:gdLst>
              <a:gd name="connsiteX0" fmla="*/ 359906 w 1455521"/>
              <a:gd name="connsiteY0" fmla="*/ 0 h 932559"/>
              <a:gd name="connsiteX1" fmla="*/ 1095615 w 1455521"/>
              <a:gd name="connsiteY1" fmla="*/ 0 h 932559"/>
              <a:gd name="connsiteX2" fmla="*/ 1455521 w 1455521"/>
              <a:gd name="connsiteY2" fmla="*/ 633348 h 932559"/>
              <a:gd name="connsiteX3" fmla="*/ 1285492 w 1455521"/>
              <a:gd name="connsiteY3" fmla="*/ 932559 h 932559"/>
              <a:gd name="connsiteX4" fmla="*/ 170030 w 1455521"/>
              <a:gd name="connsiteY4" fmla="*/ 932559 h 932559"/>
              <a:gd name="connsiteX5" fmla="*/ 0 w 1455521"/>
              <a:gd name="connsiteY5" fmla="*/ 633348 h 9325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55521" h="932559">
                <a:moveTo>
                  <a:pt x="359906" y="0"/>
                </a:moveTo>
                <a:lnTo>
                  <a:pt x="1095615" y="0"/>
                </a:lnTo>
                <a:lnTo>
                  <a:pt x="1455521" y="633348"/>
                </a:lnTo>
                <a:lnTo>
                  <a:pt x="1285492" y="932559"/>
                </a:lnTo>
                <a:lnTo>
                  <a:pt x="170030" y="932559"/>
                </a:lnTo>
                <a:lnTo>
                  <a:pt x="0" y="633348"/>
                </a:lnTo>
                <a:close/>
              </a:path>
            </a:pathLst>
          </a:cu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14" name="Hexagon 27">
            <a:extLst>
              <a:ext uri="{FF2B5EF4-FFF2-40B4-BE49-F238E27FC236}">
                <a16:creationId xmlns:a16="http://schemas.microsoft.com/office/drawing/2014/main" id="{5275D449-7441-440B-8584-96D25256F24D}"/>
              </a:ext>
            </a:extLst>
          </p:cNvPr>
          <p:cNvSpPr/>
          <p:nvPr userDrawn="1"/>
        </p:nvSpPr>
        <p:spPr>
          <a:xfrm>
            <a:off x="2767218" y="5253832"/>
            <a:ext cx="1455521" cy="1266696"/>
          </a:xfrm>
          <a:prstGeom prst="hexagon">
            <a:avLst>
              <a:gd name="adj" fmla="val 28413"/>
              <a:gd name="vf" fmla="val 115470"/>
            </a:avLst>
          </a:prstGeom>
          <a:solidFill>
            <a:srgbClr val="E9517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15" name="Hexagon 28">
            <a:extLst>
              <a:ext uri="{FF2B5EF4-FFF2-40B4-BE49-F238E27FC236}">
                <a16:creationId xmlns:a16="http://schemas.microsoft.com/office/drawing/2014/main" id="{94CFCD79-F5CD-4175-96DE-1AC2E1999DB6}"/>
              </a:ext>
            </a:extLst>
          </p:cNvPr>
          <p:cNvSpPr/>
          <p:nvPr userDrawn="1"/>
        </p:nvSpPr>
        <p:spPr>
          <a:xfrm>
            <a:off x="2767144" y="3880620"/>
            <a:ext cx="1455521" cy="1266696"/>
          </a:xfrm>
          <a:prstGeom prst="hexagon">
            <a:avLst>
              <a:gd name="adj" fmla="val 28413"/>
              <a:gd name="vf" fmla="val 115470"/>
            </a:avLst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18" name="Hexagon 31">
            <a:extLst>
              <a:ext uri="{FF2B5EF4-FFF2-40B4-BE49-F238E27FC236}">
                <a16:creationId xmlns:a16="http://schemas.microsoft.com/office/drawing/2014/main" id="{61BB4AB0-7C5C-4697-A25B-0AFD8754AB52}"/>
              </a:ext>
            </a:extLst>
          </p:cNvPr>
          <p:cNvSpPr/>
          <p:nvPr userDrawn="1"/>
        </p:nvSpPr>
        <p:spPr>
          <a:xfrm>
            <a:off x="1580353" y="3182793"/>
            <a:ext cx="1455521" cy="1266696"/>
          </a:xfrm>
          <a:prstGeom prst="hexagon">
            <a:avLst>
              <a:gd name="adj" fmla="val 28413"/>
              <a:gd name="vf" fmla="val 115470"/>
            </a:avLst>
          </a:prstGeom>
          <a:noFill/>
          <a:ln w="1905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46" name="Freeform 45">
            <a:extLst>
              <a:ext uri="{FF2B5EF4-FFF2-40B4-BE49-F238E27FC236}">
                <a16:creationId xmlns:a16="http://schemas.microsoft.com/office/drawing/2014/main" id="{2363FF00-E570-D743-258E-E9FEF4F02A08}"/>
              </a:ext>
            </a:extLst>
          </p:cNvPr>
          <p:cNvSpPr/>
          <p:nvPr userDrawn="1"/>
        </p:nvSpPr>
        <p:spPr>
          <a:xfrm>
            <a:off x="6334981" y="5962237"/>
            <a:ext cx="1455521" cy="901561"/>
          </a:xfrm>
          <a:custGeom>
            <a:avLst/>
            <a:gdLst>
              <a:gd name="connsiteX0" fmla="*/ 359906 w 1455521"/>
              <a:gd name="connsiteY0" fmla="*/ 0 h 901561"/>
              <a:gd name="connsiteX1" fmla="*/ 1095615 w 1455521"/>
              <a:gd name="connsiteY1" fmla="*/ 0 h 901561"/>
              <a:gd name="connsiteX2" fmla="*/ 1455521 w 1455521"/>
              <a:gd name="connsiteY2" fmla="*/ 633348 h 901561"/>
              <a:gd name="connsiteX3" fmla="*/ 1303107 w 1455521"/>
              <a:gd name="connsiteY3" fmla="*/ 901561 h 901561"/>
              <a:gd name="connsiteX4" fmla="*/ 152415 w 1455521"/>
              <a:gd name="connsiteY4" fmla="*/ 901561 h 901561"/>
              <a:gd name="connsiteX5" fmla="*/ 0 w 1455521"/>
              <a:gd name="connsiteY5" fmla="*/ 633348 h 9015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55521" h="901561">
                <a:moveTo>
                  <a:pt x="359906" y="0"/>
                </a:moveTo>
                <a:lnTo>
                  <a:pt x="1095615" y="0"/>
                </a:lnTo>
                <a:lnTo>
                  <a:pt x="1455521" y="633348"/>
                </a:lnTo>
                <a:lnTo>
                  <a:pt x="1303107" y="901561"/>
                </a:lnTo>
                <a:lnTo>
                  <a:pt x="152415" y="901561"/>
                </a:lnTo>
                <a:lnTo>
                  <a:pt x="0" y="633348"/>
                </a:lnTo>
                <a:close/>
              </a:path>
            </a:pathLst>
          </a:custGeom>
          <a:noFill/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28" name="Content Placeholder 47">
            <a:extLst>
              <a:ext uri="{FF2B5EF4-FFF2-40B4-BE49-F238E27FC236}">
                <a16:creationId xmlns:a16="http://schemas.microsoft.com/office/drawing/2014/main" id="{073CD90F-1E45-47EC-B558-D5F638F5FE6F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6647014" y="1970576"/>
            <a:ext cx="5090616" cy="4511206"/>
          </a:xfrm>
          <a:prstGeom prst="hexagon">
            <a:avLst>
              <a:gd name="adj" fmla="val 28349"/>
              <a:gd name="vf" fmla="val 115470"/>
            </a:avLst>
          </a:prstGeom>
          <a:ln w="38100">
            <a:gradFill>
              <a:gsLst>
                <a:gs pos="0">
                  <a:srgbClr val="00E0D0"/>
                </a:gs>
                <a:gs pos="100000">
                  <a:srgbClr val="7363A8"/>
                </a:gs>
              </a:gsLst>
              <a:lin ang="5400000" scaled="1"/>
            </a:gradFill>
            <a:prstDash val="dash"/>
          </a:ln>
        </p:spPr>
        <p:txBody>
          <a:bodyPr>
            <a:noAutofit/>
          </a:bodyPr>
          <a:lstStyle>
            <a:lvl1pPr marL="0" indent="0" algn="ctr">
              <a:buFontTx/>
              <a:buNone/>
              <a:defRPr sz="1050">
                <a:solidFill>
                  <a:schemeClr val="accent6"/>
                </a:solidFill>
              </a:defRPr>
            </a:lvl1pPr>
          </a:lstStyle>
          <a:p>
            <a:r>
              <a:rPr lang="en-GB" altLang="zh-CN"/>
              <a:t>Click icon to add picture</a:t>
            </a:r>
            <a:endParaRPr lang="en-US" altLang="zh-CN" dirty="0"/>
          </a:p>
        </p:txBody>
      </p:sp>
      <p:sp>
        <p:nvSpPr>
          <p:cNvPr id="40" name="Freeform 39">
            <a:extLst>
              <a:ext uri="{FF2B5EF4-FFF2-40B4-BE49-F238E27FC236}">
                <a16:creationId xmlns:a16="http://schemas.microsoft.com/office/drawing/2014/main" id="{E3C8467A-0A34-2A65-92FE-F12F6A3D84A6}"/>
              </a:ext>
            </a:extLst>
          </p:cNvPr>
          <p:cNvSpPr/>
          <p:nvPr userDrawn="1"/>
        </p:nvSpPr>
        <p:spPr>
          <a:xfrm>
            <a:off x="-6538" y="1815084"/>
            <a:ext cx="697438" cy="1266696"/>
          </a:xfrm>
          <a:custGeom>
            <a:avLst/>
            <a:gdLst>
              <a:gd name="connsiteX0" fmla="*/ 0 w 732607"/>
              <a:gd name="connsiteY0" fmla="*/ 0 h 1266696"/>
              <a:gd name="connsiteX1" fmla="*/ 372701 w 732607"/>
              <a:gd name="connsiteY1" fmla="*/ 0 h 1266696"/>
              <a:gd name="connsiteX2" fmla="*/ 732607 w 732607"/>
              <a:gd name="connsiteY2" fmla="*/ 633348 h 1266696"/>
              <a:gd name="connsiteX3" fmla="*/ 372701 w 732607"/>
              <a:gd name="connsiteY3" fmla="*/ 1266696 h 1266696"/>
              <a:gd name="connsiteX4" fmla="*/ 0 w 732607"/>
              <a:gd name="connsiteY4" fmla="*/ 1266696 h 1266696"/>
              <a:gd name="connsiteX0" fmla="*/ 43961 w 732607"/>
              <a:gd name="connsiteY0" fmla="*/ 8793 h 1266696"/>
              <a:gd name="connsiteX1" fmla="*/ 372701 w 732607"/>
              <a:gd name="connsiteY1" fmla="*/ 0 h 1266696"/>
              <a:gd name="connsiteX2" fmla="*/ 732607 w 732607"/>
              <a:gd name="connsiteY2" fmla="*/ 633348 h 1266696"/>
              <a:gd name="connsiteX3" fmla="*/ 372701 w 732607"/>
              <a:gd name="connsiteY3" fmla="*/ 1266696 h 1266696"/>
              <a:gd name="connsiteX4" fmla="*/ 0 w 732607"/>
              <a:gd name="connsiteY4" fmla="*/ 1266696 h 1266696"/>
              <a:gd name="connsiteX5" fmla="*/ 43961 w 732607"/>
              <a:gd name="connsiteY5" fmla="*/ 8793 h 1266696"/>
              <a:gd name="connsiteX0" fmla="*/ 8792 w 697438"/>
              <a:gd name="connsiteY0" fmla="*/ 8793 h 1266696"/>
              <a:gd name="connsiteX1" fmla="*/ 337532 w 697438"/>
              <a:gd name="connsiteY1" fmla="*/ 0 h 1266696"/>
              <a:gd name="connsiteX2" fmla="*/ 697438 w 697438"/>
              <a:gd name="connsiteY2" fmla="*/ 633348 h 1266696"/>
              <a:gd name="connsiteX3" fmla="*/ 337532 w 697438"/>
              <a:gd name="connsiteY3" fmla="*/ 1266696 h 1266696"/>
              <a:gd name="connsiteX4" fmla="*/ 0 w 697438"/>
              <a:gd name="connsiteY4" fmla="*/ 1266696 h 1266696"/>
              <a:gd name="connsiteX5" fmla="*/ 8792 w 697438"/>
              <a:gd name="connsiteY5" fmla="*/ 8793 h 12666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97438" h="1266696">
                <a:moveTo>
                  <a:pt x="8792" y="8793"/>
                </a:moveTo>
                <a:lnTo>
                  <a:pt x="337532" y="0"/>
                </a:lnTo>
                <a:lnTo>
                  <a:pt x="697438" y="633348"/>
                </a:lnTo>
                <a:lnTo>
                  <a:pt x="337532" y="1266696"/>
                </a:lnTo>
                <a:lnTo>
                  <a:pt x="0" y="1266696"/>
                </a:lnTo>
                <a:cubicBezTo>
                  <a:pt x="0" y="844464"/>
                  <a:pt x="8792" y="431025"/>
                  <a:pt x="8792" y="8793"/>
                </a:cubicBezTo>
                <a:close/>
              </a:path>
            </a:pathLst>
          </a:custGeom>
          <a:noFill/>
          <a:ln w="19050">
            <a:solidFill>
              <a:srgbClr val="E9517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chemeClr val="accent6"/>
              </a:solidFill>
            </a:endParaRPr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5B3D54F5-515B-48DC-585D-B61486F4718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6700454">
            <a:off x="1625647" y="3395656"/>
            <a:ext cx="996434" cy="783915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AF7FA47E-4664-45A8-4B41-5B8CBAC60E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9508" y="574998"/>
            <a:ext cx="8648689" cy="875820"/>
          </a:xfrm>
          <a:solidFill>
            <a:schemeClr val="bg1"/>
          </a:solidFill>
        </p:spPr>
        <p:txBody>
          <a:bodyPr lIns="216000">
            <a:noAutofit/>
          </a:bodyPr>
          <a:lstStyle/>
          <a:p>
            <a:r>
              <a:rPr lang="en-GB" noProof="0"/>
              <a:t>Click to edit Master title style</a:t>
            </a:r>
            <a:endParaRPr lang="en-US" noProof="0" dirty="0"/>
          </a:p>
        </p:txBody>
      </p:sp>
      <p:cxnSp>
        <p:nvCxnSpPr>
          <p:cNvPr id="4" name="Straight Connector 2">
            <a:extLst>
              <a:ext uri="{FF2B5EF4-FFF2-40B4-BE49-F238E27FC236}">
                <a16:creationId xmlns:a16="http://schemas.microsoft.com/office/drawing/2014/main" id="{280C14CD-9862-CB6B-2EE0-10F9117D9B01}"/>
              </a:ext>
            </a:extLst>
          </p:cNvPr>
          <p:cNvCxnSpPr/>
          <p:nvPr userDrawn="1"/>
        </p:nvCxnSpPr>
        <p:spPr>
          <a:xfrm>
            <a:off x="3653870" y="1457953"/>
            <a:ext cx="0" cy="760288"/>
          </a:xfrm>
          <a:prstGeom prst="line">
            <a:avLst/>
          </a:prstGeom>
          <a:noFill/>
          <a:ln w="19050" cap="flat" cmpd="sng" algn="ctr">
            <a:solidFill>
              <a:srgbClr val="00E0D0"/>
            </a:solidFill>
            <a:prstDash val="solid"/>
            <a:miter lim="800000"/>
          </a:ln>
          <a:effectLst/>
        </p:spPr>
      </p:cxnSp>
      <p:sp>
        <p:nvSpPr>
          <p:cNvPr id="5" name="Content placeholder 47" descr="Click icon to add picture">
            <a:extLst>
              <a:ext uri="{FF2B5EF4-FFF2-40B4-BE49-F238E27FC236}">
                <a16:creationId xmlns:a16="http://schemas.microsoft.com/office/drawing/2014/main" id="{AAD6B003-53D4-3514-1A45-9D624D5FE62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726352" y="1457953"/>
            <a:ext cx="3857488" cy="76028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800" b="0">
                <a:solidFill>
                  <a:schemeClr val="accent6"/>
                </a:solidFill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noProof="0"/>
              <a:t>Click to edit Master title style </a:t>
            </a:r>
          </a:p>
        </p:txBody>
      </p:sp>
      <p:sp>
        <p:nvSpPr>
          <p:cNvPr id="2" name="Content placeholder 47" descr="Click icon to add picture">
            <a:extLst>
              <a:ext uri="{FF2B5EF4-FFF2-40B4-BE49-F238E27FC236}">
                <a16:creationId xmlns:a16="http://schemas.microsoft.com/office/drawing/2014/main" id="{BA67F8FE-4FA9-AC23-4081-81C73DAD05FA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4086120" y="3344033"/>
            <a:ext cx="1191149" cy="94421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800" b="0">
                <a:solidFill>
                  <a:schemeClr val="accent6"/>
                </a:solidFill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noProof="0" dirty="0"/>
              <a:t>Click to add interest</a:t>
            </a:r>
          </a:p>
        </p:txBody>
      </p:sp>
      <p:sp>
        <p:nvSpPr>
          <p:cNvPr id="6" name="Content placeholder 47" descr="Click icon to add picture">
            <a:extLst>
              <a:ext uri="{FF2B5EF4-FFF2-40B4-BE49-F238E27FC236}">
                <a16:creationId xmlns:a16="http://schemas.microsoft.com/office/drawing/2014/main" id="{E5A135DB-702E-70AE-1CB1-ED2509ACFCD8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712255" y="1967335"/>
            <a:ext cx="1191149" cy="94421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800" b="0">
                <a:solidFill>
                  <a:schemeClr val="accent6"/>
                </a:solidFill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noProof="0" dirty="0"/>
              <a:t>Click to add interest</a:t>
            </a:r>
          </a:p>
        </p:txBody>
      </p:sp>
      <p:sp>
        <p:nvSpPr>
          <p:cNvPr id="7" name="Content placeholder 47" descr="Click icon to add picture">
            <a:extLst>
              <a:ext uri="{FF2B5EF4-FFF2-40B4-BE49-F238E27FC236}">
                <a16:creationId xmlns:a16="http://schemas.microsoft.com/office/drawing/2014/main" id="{78434FD1-4E84-45F9-5192-D87070801139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2897021" y="4022012"/>
            <a:ext cx="1191149" cy="94421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800" b="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noProof="0" dirty="0"/>
              <a:t>Click to add interest</a:t>
            </a:r>
          </a:p>
        </p:txBody>
      </p:sp>
    </p:spTree>
    <p:extLst>
      <p:ext uri="{BB962C8B-B14F-4D97-AF65-F5344CB8AC3E}">
        <p14:creationId xmlns:p14="http://schemas.microsoft.com/office/powerpoint/2010/main" val="417529181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844346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4B7A288-CDAC-4184-9F73-137C95F5E64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84200" y="1435100"/>
            <a:ext cx="5211763" cy="48339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CEC22105-78D6-4753-94FA-3DA949361A9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389688" y="1435100"/>
            <a:ext cx="5219700" cy="48339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F6A123D-3A27-499F-9210-3E0D7CED39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 dirty="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373456831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  <p15:guide id="4" pos="3660">
          <p15:clr>
            <a:srgbClr val="5ACBF0"/>
          </p15:clr>
        </p15:guide>
        <p15:guide id="5" pos="4024">
          <p15:clr>
            <a:srgbClr val="5ACBF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124103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  <p15:guide id="4" pos="3656">
          <p15:clr>
            <a:srgbClr val="5ACBF0"/>
          </p15:clr>
        </p15:guide>
        <p15:guide id="5" pos="4024">
          <p15:clr>
            <a:srgbClr val="5ACBF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Bullet with Subhea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D525736-DEE8-4391-8135-23DE0640053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1436688"/>
            <a:ext cx="5219700" cy="430887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8E90344-0294-48E2-AAF0-601BB99500E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84200" y="2084388"/>
            <a:ext cx="5219700" cy="1612749"/>
          </a:xfrm>
        </p:spPr>
        <p:txBody>
          <a:bodyPr>
            <a:spAutoFit/>
          </a:bodyPr>
          <a:lstStyle>
            <a:lvl1pPr marL="171450" indent="-171450">
              <a:defRPr lang="en-US" sz="2400" dirty="0"/>
            </a:lvl1pPr>
            <a:lvl2pPr marL="342900" indent="-171450">
              <a:defRPr lang="en-US" dirty="0"/>
            </a:lvl2pPr>
            <a:lvl3pPr marL="514350" indent="-171450">
              <a:defRPr lang="en-US" dirty="0"/>
            </a:lvl3pPr>
            <a:lvl4pPr marL="666750" indent="-152400">
              <a:defRPr lang="en-US" dirty="0"/>
            </a:lvl4pPr>
            <a:lvl5pPr marL="793750" indent="-120650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B4F729D4-B1F1-45F2-A06A-40234B19C88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97625" y="1436688"/>
            <a:ext cx="5219700" cy="430887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1F896FB-325C-4849-B372-8DF0D6C0562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97625" y="2084388"/>
            <a:ext cx="5219700" cy="1612749"/>
          </a:xfrm>
        </p:spPr>
        <p:txBody>
          <a:bodyPr>
            <a:spAutoFit/>
          </a:bodyPr>
          <a:lstStyle>
            <a:lvl1pPr marL="171450" indent="-171450">
              <a:defRPr lang="en-US" sz="2400" dirty="0"/>
            </a:lvl1pPr>
            <a:lvl2pPr marL="342900" indent="-171450">
              <a:defRPr lang="en-US" dirty="0"/>
            </a:lvl2pPr>
            <a:lvl3pPr marL="514350" indent="-171450">
              <a:defRPr lang="en-US" dirty="0"/>
            </a:lvl3pPr>
            <a:lvl4pPr marL="685800" indent="-136525">
              <a:defRPr lang="en-US" dirty="0"/>
            </a:lvl4pPr>
            <a:lvl5pPr marL="793750" indent="-120650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897151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311">
          <p15:clr>
            <a:srgbClr val="5ACBF0"/>
          </p15:clr>
        </p15:guide>
        <p15:guide id="4" pos="3656">
          <p15:clr>
            <a:srgbClr val="5ACBF0"/>
          </p15:clr>
        </p15:guide>
        <p15:guide id="5" pos="4024">
          <p15:clr>
            <a:srgbClr val="5ACBF0"/>
          </p15:clr>
        </p15:guide>
        <p15:guide id="7" orient="horz" pos="905">
          <p15:clr>
            <a:srgbClr val="5ACBF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Content with Subhea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C2759870-0BEA-44DC-A414-1C70D04E35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1436688"/>
            <a:ext cx="5219700" cy="430887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BFEF95FA-F121-4653-B60A-0D068C34546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88963" y="2081212"/>
            <a:ext cx="5214937" cy="4187825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C327262A-D327-4189-AD22-BAD67CF4AB7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97625" y="1436688"/>
            <a:ext cx="5219700" cy="430887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14">
            <a:extLst>
              <a:ext uri="{FF2B5EF4-FFF2-40B4-BE49-F238E27FC236}">
                <a16:creationId xmlns:a16="http://schemas.microsoft.com/office/drawing/2014/main" id="{47F8EAA9-0E64-4589-A234-BC31685BE7D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394451" y="2081212"/>
            <a:ext cx="5214937" cy="4187825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FADFBB8-E1C1-D5AB-8154-CBA2D9EFB6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 dirty="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113188812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311">
          <p15:clr>
            <a:srgbClr val="5ACBF0"/>
          </p15:clr>
        </p15:guide>
        <p15:guide id="4" pos="3656">
          <p15:clr>
            <a:srgbClr val="5ACBF0"/>
          </p15:clr>
        </p15:guide>
        <p15:guide id="5" pos="4024">
          <p15:clr>
            <a:srgbClr val="5ACBF0"/>
          </p15:clr>
        </p15:guide>
        <p15:guide id="7" orient="horz" pos="905">
          <p15:clr>
            <a:srgbClr val="5ACBF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 Bullet with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260F77E-464D-46F7-A8F8-6F281DAB0C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CB20F198-3776-433D-85A8-C2B6AC6235F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5217" y="1438275"/>
            <a:ext cx="3264408" cy="677108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97BC59AA-6CF8-4091-8008-21AA9AD8E8B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85217" y="2390775"/>
            <a:ext cx="3264408" cy="1760482"/>
          </a:xfrm>
        </p:spPr>
        <p:txBody>
          <a:bodyPr wrap="square">
            <a:spAutoFit/>
          </a:bodyPr>
          <a:lstStyle>
            <a:lvl1pPr marL="176213" indent="-176213">
              <a:defRPr lang="en-US" sz="2000" dirty="0"/>
            </a:lvl1pPr>
            <a:lvl2pPr marL="322263" indent="-150813">
              <a:defRPr lang="en-US" sz="1800" dirty="0"/>
            </a:lvl2pPr>
            <a:lvl3pPr marL="466725" indent="-138113">
              <a:defRPr lang="en-US" dirty="0"/>
            </a:lvl3pPr>
            <a:lvl4pPr marL="595313" indent="-128588">
              <a:defRPr lang="en-US" dirty="0"/>
            </a:lvl4pPr>
            <a:lvl5pPr marL="731838" indent="-1222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BECED387-BA3E-49B2-8F1E-0E371E09E0A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463796" y="1438275"/>
            <a:ext cx="3264408" cy="677108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6B26A1CD-81F9-4C2F-896F-E69757C6658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463796" y="2384135"/>
            <a:ext cx="3264408" cy="1760482"/>
          </a:xfrm>
        </p:spPr>
        <p:txBody>
          <a:bodyPr wrap="square">
            <a:spAutoFit/>
          </a:bodyPr>
          <a:lstStyle>
            <a:lvl1pPr marL="176213" indent="-176213">
              <a:defRPr lang="en-US" sz="2000" dirty="0"/>
            </a:lvl1pPr>
            <a:lvl2pPr marL="398463" indent="-169863">
              <a:defRPr lang="en-US" sz="1800" dirty="0"/>
            </a:lvl2pPr>
            <a:lvl3pPr marL="555625" indent="-157163">
              <a:defRPr lang="en-US" dirty="0"/>
            </a:lvl3pPr>
            <a:lvl4pPr marL="685800" indent="-136525">
              <a:defRPr lang="en-US" dirty="0"/>
            </a:lvl4pPr>
            <a:lvl5pPr marL="800100" indent="-111125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3" name="Text Placeholder 11">
            <a:extLst>
              <a:ext uri="{FF2B5EF4-FFF2-40B4-BE49-F238E27FC236}">
                <a16:creationId xmlns:a16="http://schemas.microsoft.com/office/drawing/2014/main" id="{79263A4B-A9A8-4CE5-96A8-6F6EC365E5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342375" y="1438275"/>
            <a:ext cx="3264408" cy="677108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2205743D-F71A-4647-9BE4-2900BDA2582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342375" y="2390775"/>
            <a:ext cx="3264408" cy="1760482"/>
          </a:xfrm>
        </p:spPr>
        <p:txBody>
          <a:bodyPr wrap="square">
            <a:spAutoFit/>
          </a:bodyPr>
          <a:lstStyle>
            <a:lvl1pPr marL="176213" indent="-176213">
              <a:defRPr lang="en-US" sz="2000" dirty="0"/>
            </a:lvl1pPr>
            <a:lvl2pPr marL="398463" indent="-169863">
              <a:defRPr lang="en-US" sz="1800" dirty="0"/>
            </a:lvl2pPr>
            <a:lvl3pPr marL="555625" indent="-157163">
              <a:defRPr lang="en-US" dirty="0"/>
            </a:lvl3pPr>
            <a:lvl4pPr marL="685800" indent="-136525">
              <a:defRPr lang="en-US" dirty="0"/>
            </a:lvl4pPr>
            <a:lvl5pPr marL="800100" indent="-111125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406699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1506">
          <p15:clr>
            <a:srgbClr val="5ACBF0"/>
          </p15:clr>
        </p15:guide>
        <p15:guide id="4" orient="horz" pos="90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2430">
          <p15:clr>
            <a:srgbClr val="5ACBF0"/>
          </p15:clr>
        </p15:guide>
        <p15:guide id="7" pos="2811">
          <p15:clr>
            <a:srgbClr val="5ACBF0"/>
          </p15:clr>
        </p15:guide>
        <p15:guide id="8" pos="4871">
          <p15:clr>
            <a:srgbClr val="5ACBF0"/>
          </p15:clr>
        </p15:guide>
        <p15:guide id="9" pos="5251">
          <p15:clr>
            <a:srgbClr val="5ACBF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lumn Bullet with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7A434B7-D4B9-4D45-A31C-F0CC4D2279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Text Placeholder 11">
            <a:extLst>
              <a:ext uri="{FF2B5EF4-FFF2-40B4-BE49-F238E27FC236}">
                <a16:creationId xmlns:a16="http://schemas.microsoft.com/office/drawing/2014/main" id="{92783506-927E-48F7-8EFC-36257F3E281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1438275"/>
            <a:ext cx="2532063" cy="61555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FB6093D3-3EDF-4A80-8450-C5EBB199077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84200" y="2283115"/>
            <a:ext cx="2532063" cy="1698927"/>
          </a:xfrm>
        </p:spPr>
        <p:txBody>
          <a:bodyPr wrap="square">
            <a:spAutoFit/>
          </a:bodyPr>
          <a:lstStyle>
            <a:lvl1pPr marL="141288" indent="-141288">
              <a:defRPr lang="en-US" sz="1800" dirty="0"/>
            </a:lvl1pPr>
            <a:lvl2pPr marL="285750" indent="-125413">
              <a:defRPr lang="en-US" sz="1600" dirty="0"/>
            </a:lvl2pPr>
            <a:lvl3pPr marL="438150" indent="-133350">
              <a:defRPr lang="en-US" dirty="0"/>
            </a:lvl3pPr>
            <a:lvl4pPr marL="566738" indent="-114300">
              <a:defRPr lang="en-US" dirty="0"/>
            </a:lvl4pPr>
            <a:lvl5pPr marL="685800" indent="-1095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4" name="Text Placeholder 11">
            <a:extLst>
              <a:ext uri="{FF2B5EF4-FFF2-40B4-BE49-F238E27FC236}">
                <a16:creationId xmlns:a16="http://schemas.microsoft.com/office/drawing/2014/main" id="{438D2C80-6884-451D-8D7D-B69022CCC5C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13125" y="1438275"/>
            <a:ext cx="2533650" cy="61555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7614A884-0AD6-4A85-A432-2B13E7464DA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413125" y="2276475"/>
            <a:ext cx="2532063" cy="1698927"/>
          </a:xfrm>
        </p:spPr>
        <p:txBody>
          <a:bodyPr wrap="square">
            <a:spAutoFit/>
          </a:bodyPr>
          <a:lstStyle>
            <a:lvl1pPr marL="141288" indent="-141288">
              <a:defRPr lang="en-US" sz="1800" dirty="0"/>
            </a:lvl1pPr>
            <a:lvl2pPr marL="285750" indent="-125413">
              <a:defRPr lang="en-US" sz="1600" dirty="0"/>
            </a:lvl2pPr>
            <a:lvl3pPr marL="438150" indent="-133350">
              <a:defRPr lang="en-US" dirty="0"/>
            </a:lvl3pPr>
            <a:lvl4pPr marL="566738" indent="-114300">
              <a:defRPr lang="en-US" dirty="0"/>
            </a:lvl4pPr>
            <a:lvl5pPr marL="685800" indent="-1095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6" name="Text Placeholder 11">
            <a:extLst>
              <a:ext uri="{FF2B5EF4-FFF2-40B4-BE49-F238E27FC236}">
                <a16:creationId xmlns:a16="http://schemas.microsoft.com/office/drawing/2014/main" id="{7D8FFDED-9FE5-4D94-8EB0-7D645C10FBF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4208" y="1438275"/>
            <a:ext cx="2532063" cy="61555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D429D954-9297-44FA-B7BD-56586012419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44208" y="2283115"/>
            <a:ext cx="2532063" cy="1698927"/>
          </a:xfrm>
        </p:spPr>
        <p:txBody>
          <a:bodyPr wrap="square">
            <a:spAutoFit/>
          </a:bodyPr>
          <a:lstStyle>
            <a:lvl1pPr marL="141288" indent="-141288">
              <a:defRPr lang="en-US" sz="1800" dirty="0"/>
            </a:lvl1pPr>
            <a:lvl2pPr marL="285750" indent="-125413">
              <a:defRPr lang="en-US" sz="1600" dirty="0"/>
            </a:lvl2pPr>
            <a:lvl3pPr marL="438150" indent="-133350">
              <a:defRPr lang="en-US" dirty="0"/>
            </a:lvl3pPr>
            <a:lvl4pPr marL="566738" indent="-114300">
              <a:defRPr lang="en-US" dirty="0"/>
            </a:lvl4pPr>
            <a:lvl5pPr marL="685800" indent="-1095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8" name="Text Placeholder 11">
            <a:extLst>
              <a:ext uri="{FF2B5EF4-FFF2-40B4-BE49-F238E27FC236}">
                <a16:creationId xmlns:a16="http://schemas.microsoft.com/office/drawing/2014/main" id="{04D43B0D-50F8-4F63-AFA3-34A46F42E81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073133" y="1438275"/>
            <a:ext cx="2533650" cy="61555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804CEFDA-6A6F-42D3-B65C-4BE1054C905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073133" y="2276475"/>
            <a:ext cx="2532063" cy="1698927"/>
          </a:xfrm>
        </p:spPr>
        <p:txBody>
          <a:bodyPr wrap="square">
            <a:spAutoFit/>
          </a:bodyPr>
          <a:lstStyle>
            <a:lvl1pPr marL="141288" indent="-141288">
              <a:defRPr lang="en-US" sz="1800" dirty="0"/>
            </a:lvl1pPr>
            <a:lvl2pPr marL="285750" indent="-125413">
              <a:defRPr lang="en-US" sz="1600" dirty="0"/>
            </a:lvl2pPr>
            <a:lvl3pPr marL="438150" indent="-133350">
              <a:defRPr lang="en-US" dirty="0"/>
            </a:lvl3pPr>
            <a:lvl4pPr marL="566738" indent="-114300">
              <a:defRPr lang="en-US" dirty="0"/>
            </a:lvl4pPr>
            <a:lvl5pPr marL="685800" indent="-1095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813965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4" orient="horz" pos="90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1963">
          <p15:clr>
            <a:srgbClr val="5ACBF0"/>
          </p15:clr>
        </p15:guide>
        <p15:guide id="7" pos="2150">
          <p15:clr>
            <a:srgbClr val="5ACBF0"/>
          </p15:clr>
        </p15:guide>
        <p15:guide id="8" pos="3746">
          <p15:clr>
            <a:srgbClr val="5ACBF0"/>
          </p15:clr>
        </p15:guide>
        <p15:guide id="9" pos="3934">
          <p15:clr>
            <a:srgbClr val="5ACBF0"/>
          </p15:clr>
        </p15:guide>
        <p15:guide id="10" pos="5530">
          <p15:clr>
            <a:srgbClr val="5ACBF0"/>
          </p15:clr>
        </p15:guide>
        <p15:guide id="11" pos="5716">
          <p15:clr>
            <a:srgbClr val="5ACBF0"/>
          </p15:clr>
        </p15:guide>
        <p15:guide id="12" orient="horz" pos="1436">
          <p15:clr>
            <a:srgbClr val="5ACBF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ve Column Bullet with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7A434B7-D4B9-4D45-A31C-F0CC4D2279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Text Placeholder 11">
            <a:extLst>
              <a:ext uri="{FF2B5EF4-FFF2-40B4-BE49-F238E27FC236}">
                <a16:creationId xmlns:a16="http://schemas.microsoft.com/office/drawing/2014/main" id="{92783506-927E-48F7-8EFC-36257F3E28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4200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FB6093D3-3EDF-4A80-8450-C5EBB199077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84200" y="228311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4" name="Text Placeholder 11">
            <a:extLst>
              <a:ext uri="{FF2B5EF4-FFF2-40B4-BE49-F238E27FC236}">
                <a16:creationId xmlns:a16="http://schemas.microsoft.com/office/drawing/2014/main" id="{438D2C80-6884-451D-8D7D-B69022CCC5C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49007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7614A884-0AD6-4A85-A432-2B13E7464DA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849007" y="227647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6" name="Text Placeholder 11">
            <a:extLst>
              <a:ext uri="{FF2B5EF4-FFF2-40B4-BE49-F238E27FC236}">
                <a16:creationId xmlns:a16="http://schemas.microsoft.com/office/drawing/2014/main" id="{7D8FFDED-9FE5-4D94-8EB0-7D645C10FBF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3814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D429D954-9297-44FA-B7BD-56586012419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113814" y="228311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8" name="Text Placeholder 11">
            <a:extLst>
              <a:ext uri="{FF2B5EF4-FFF2-40B4-BE49-F238E27FC236}">
                <a16:creationId xmlns:a16="http://schemas.microsoft.com/office/drawing/2014/main" id="{04D43B0D-50F8-4F63-AFA3-34A46F42E81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378621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804CEFDA-6A6F-42D3-B65C-4BE1054C905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378621" y="227647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540485AC-5036-400C-92C3-D3E9EC0252B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643428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F90290A2-7689-4DF5-971A-36C2D917341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43428" y="227647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872393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4" orient="horz" pos="90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1610">
          <p15:clr>
            <a:srgbClr val="5ACBF0"/>
          </p15:clr>
        </p15:guide>
        <p15:guide id="7" pos="1795">
          <p15:clr>
            <a:srgbClr val="5ACBF0"/>
          </p15:clr>
        </p15:guide>
        <p15:guide id="8" pos="3035">
          <p15:clr>
            <a:srgbClr val="5ACBF0"/>
          </p15:clr>
        </p15:guide>
        <p15:guide id="9" pos="3221">
          <p15:clr>
            <a:srgbClr val="5ACBF0"/>
          </p15:clr>
        </p15:guide>
        <p15:guide id="10" pos="4461">
          <p15:clr>
            <a:srgbClr val="5ACBF0"/>
          </p15:clr>
        </p15:guide>
        <p15:guide id="11" pos="5890">
          <p15:clr>
            <a:srgbClr val="5ACBF0"/>
          </p15:clr>
        </p15:guide>
        <p15:guide id="12" orient="horz" pos="1436">
          <p15:clr>
            <a:srgbClr val="5ACBF0"/>
          </p15:clr>
        </p15:guide>
        <p15:guide id="13" pos="4646">
          <p15:clr>
            <a:srgbClr val="5ACBF0"/>
          </p15:clr>
        </p15:guide>
        <p15:guide id="14" pos="6072">
          <p15:clr>
            <a:srgbClr val="5ACBF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AAD849-7CFE-4AF7-A7C5-6BBD50C88C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887055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left s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AAD849-7CFE-4AF7-A7C5-6BBD50C88C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4" y="2875002"/>
            <a:ext cx="4127692" cy="1107996"/>
          </a:xfrm>
        </p:spPr>
        <p:txBody>
          <a:bodyPr wrap="square" anchor="ctr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631993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30" orient="horz" pos="288">
          <p15:clr>
            <a:srgbClr val="5ACBF0"/>
          </p15:clr>
        </p15:guide>
        <p15:guide id="32" orient="horz" pos="2160">
          <p15:clr>
            <a:srgbClr val="5ACBF0"/>
          </p15:clr>
        </p15:guide>
        <p15:guide id="33" pos="2976">
          <p15:clr>
            <a:srgbClr val="5ACBF0"/>
          </p15:clr>
        </p15:guide>
        <p15:guide id="34" pos="3336">
          <p15:clr>
            <a:srgbClr val="5ACBF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ponso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" name="Rectangle 1049">
            <a:extLst>
              <a:ext uri="{FF2B5EF4-FFF2-40B4-BE49-F238E27FC236}">
                <a16:creationId xmlns:a16="http://schemas.microsoft.com/office/drawing/2014/main" id="{3A6F7A5C-2D1D-C582-30B8-C97B2ABB54B4}"/>
              </a:ext>
            </a:extLst>
          </p:cNvPr>
          <p:cNvSpPr/>
          <p:nvPr userDrawn="1"/>
        </p:nvSpPr>
        <p:spPr>
          <a:xfrm>
            <a:off x="-104447" y="1108779"/>
            <a:ext cx="12364904" cy="1683611"/>
          </a:xfrm>
          <a:prstGeom prst="rect">
            <a:avLst/>
          </a:prstGeom>
          <a:solidFill>
            <a:schemeClr val="tx2">
              <a:lumMod val="10000"/>
              <a:lumOff val="9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51" name="Rectangle 1050">
            <a:extLst>
              <a:ext uri="{FF2B5EF4-FFF2-40B4-BE49-F238E27FC236}">
                <a16:creationId xmlns:a16="http://schemas.microsoft.com/office/drawing/2014/main" id="{8866FD03-DBD5-2A56-944D-BEE35483C6AB}"/>
              </a:ext>
            </a:extLst>
          </p:cNvPr>
          <p:cNvSpPr/>
          <p:nvPr userDrawn="1"/>
        </p:nvSpPr>
        <p:spPr>
          <a:xfrm>
            <a:off x="-97554" y="5971382"/>
            <a:ext cx="12364904" cy="927597"/>
          </a:xfrm>
          <a:prstGeom prst="rect">
            <a:avLst/>
          </a:prstGeom>
          <a:solidFill>
            <a:schemeClr val="accent5">
              <a:lumMod val="40000"/>
              <a:lumOff val="6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52" name="Rectangle 1051">
            <a:extLst>
              <a:ext uri="{FF2B5EF4-FFF2-40B4-BE49-F238E27FC236}">
                <a16:creationId xmlns:a16="http://schemas.microsoft.com/office/drawing/2014/main" id="{AB4BF2EF-A895-D48C-E781-6A1E2395371F}"/>
              </a:ext>
            </a:extLst>
          </p:cNvPr>
          <p:cNvSpPr/>
          <p:nvPr userDrawn="1"/>
        </p:nvSpPr>
        <p:spPr>
          <a:xfrm>
            <a:off x="-86452" y="2775449"/>
            <a:ext cx="12364904" cy="3192186"/>
          </a:xfrm>
          <a:prstGeom prst="rect">
            <a:avLst/>
          </a:prstGeom>
          <a:solidFill>
            <a:srgbClr val="E8D9B0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4C8D06CE-A618-1A1F-478E-D7FA4F763016}"/>
              </a:ext>
            </a:extLst>
          </p:cNvPr>
          <p:cNvSpPr/>
          <p:nvPr userDrawn="1"/>
        </p:nvSpPr>
        <p:spPr>
          <a:xfrm>
            <a:off x="6901206" y="0"/>
            <a:ext cx="3055233" cy="106537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74E2FF97-AE0E-9A02-77E4-FD87E01B2AA1}"/>
              </a:ext>
            </a:extLst>
          </p:cNvPr>
          <p:cNvSpPr txBox="1"/>
          <p:nvPr userDrawn="1"/>
        </p:nvSpPr>
        <p:spPr>
          <a:xfrm>
            <a:off x="7272462" y="695922"/>
            <a:ext cx="2452592" cy="276999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indent="0" algn="ctr">
              <a:lnSpc>
                <a:spcPct val="100000"/>
              </a:lnSpc>
              <a:spcBef>
                <a:spcPts val="0"/>
              </a:spcBef>
              <a:buFontTx/>
              <a:buNone/>
            </a:pPr>
            <a:r>
              <a:rPr lang="en-GB" sz="1200" b="1" dirty="0">
                <a:solidFill>
                  <a:schemeClr val="tx1"/>
                </a:solidFill>
                <a:latin typeface="Posterama" panose="020B0504020200020000" pitchFamily="34" charset="0"/>
                <a:ea typeface="微软雅黑"/>
                <a:cs typeface="Posterama" panose="020B0504020200020000" pitchFamily="34" charset="0"/>
              </a:rPr>
              <a:t>Headline Sponsor</a:t>
            </a:r>
          </a:p>
        </p:txBody>
      </p:sp>
      <p:sp>
        <p:nvSpPr>
          <p:cNvPr id="1054" name="Rectangle 1053">
            <a:extLst>
              <a:ext uri="{FF2B5EF4-FFF2-40B4-BE49-F238E27FC236}">
                <a16:creationId xmlns:a16="http://schemas.microsoft.com/office/drawing/2014/main" id="{062F316C-FCDD-4DB9-2071-6E4C48FC7C7D}"/>
              </a:ext>
            </a:extLst>
          </p:cNvPr>
          <p:cNvSpPr/>
          <p:nvPr userDrawn="1"/>
        </p:nvSpPr>
        <p:spPr>
          <a:xfrm>
            <a:off x="9956440" y="0"/>
            <a:ext cx="2235560" cy="1083256"/>
          </a:xfrm>
          <a:prstGeom prst="rect">
            <a:avLst/>
          </a:prstGeom>
          <a:solidFill>
            <a:srgbClr val="F6EE8A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62" name="TextBox 1061">
            <a:extLst>
              <a:ext uri="{FF2B5EF4-FFF2-40B4-BE49-F238E27FC236}">
                <a16:creationId xmlns:a16="http://schemas.microsoft.com/office/drawing/2014/main" id="{F1BCB37A-11E6-F24B-96B5-82DE8E2B8B0C}"/>
              </a:ext>
            </a:extLst>
          </p:cNvPr>
          <p:cNvSpPr txBox="1"/>
          <p:nvPr userDrawn="1"/>
        </p:nvSpPr>
        <p:spPr>
          <a:xfrm>
            <a:off x="9935455" y="713359"/>
            <a:ext cx="2256545" cy="276999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indent="0" algn="ctr">
              <a:lnSpc>
                <a:spcPct val="100000"/>
              </a:lnSpc>
              <a:spcBef>
                <a:spcPts val="0"/>
              </a:spcBef>
              <a:buFontTx/>
              <a:buNone/>
            </a:pPr>
            <a:r>
              <a:rPr lang="en-GB" sz="1200" b="1" dirty="0">
                <a:solidFill>
                  <a:schemeClr val="tx1"/>
                </a:solidFill>
                <a:latin typeface="Posterama" panose="020B0504020200020000" pitchFamily="34" charset="0"/>
                <a:ea typeface="微软雅黑"/>
                <a:cs typeface="Posterama" panose="020B0504020200020000" pitchFamily="34" charset="0"/>
              </a:rPr>
              <a:t>Community Sponsor</a:t>
            </a:r>
          </a:p>
        </p:txBody>
      </p:sp>
      <p:sp>
        <p:nvSpPr>
          <p:cNvPr id="1063" name="TextBox 1062">
            <a:extLst>
              <a:ext uri="{FF2B5EF4-FFF2-40B4-BE49-F238E27FC236}">
                <a16:creationId xmlns:a16="http://schemas.microsoft.com/office/drawing/2014/main" id="{7B547452-1DD3-73E8-A68F-88DACE5EA2BC}"/>
              </a:ext>
            </a:extLst>
          </p:cNvPr>
          <p:cNvSpPr txBox="1"/>
          <p:nvPr userDrawn="1"/>
        </p:nvSpPr>
        <p:spPr>
          <a:xfrm>
            <a:off x="11132" y="6001316"/>
            <a:ext cx="1958241" cy="276999"/>
          </a:xfrm>
          <a:prstGeom prst="rect">
            <a:avLst/>
          </a:prstGeom>
        </p:spPr>
        <p:txBody>
          <a:bodyPr wrap="square" lIns="180000" rtlCol="0">
            <a:spAutoFit/>
          </a:bodyPr>
          <a:lstStyle/>
          <a:p>
            <a:pPr marL="0" indent="0" algn="l">
              <a:lnSpc>
                <a:spcPct val="100000"/>
              </a:lnSpc>
              <a:spcBef>
                <a:spcPts val="0"/>
              </a:spcBef>
              <a:buFontTx/>
              <a:buNone/>
            </a:pPr>
            <a:r>
              <a:rPr lang="en-GB" sz="1200" b="1" dirty="0">
                <a:solidFill>
                  <a:schemeClr val="tx1"/>
                </a:solidFill>
                <a:latin typeface="Posterama" panose="020B0504020200020000" pitchFamily="34" charset="0"/>
                <a:ea typeface="微软雅黑"/>
                <a:cs typeface="Posterama" panose="020B0504020200020000" pitchFamily="34" charset="0"/>
              </a:rPr>
              <a:t>Supporting Sponsors</a:t>
            </a:r>
          </a:p>
        </p:txBody>
      </p:sp>
      <p:sp>
        <p:nvSpPr>
          <p:cNvPr id="1064" name="TextBox 1063">
            <a:extLst>
              <a:ext uri="{FF2B5EF4-FFF2-40B4-BE49-F238E27FC236}">
                <a16:creationId xmlns:a16="http://schemas.microsoft.com/office/drawing/2014/main" id="{E98FB500-44FA-2FE5-9C95-CDA021E817F1}"/>
              </a:ext>
            </a:extLst>
          </p:cNvPr>
          <p:cNvSpPr txBox="1"/>
          <p:nvPr userDrawn="1"/>
        </p:nvSpPr>
        <p:spPr>
          <a:xfrm>
            <a:off x="11132" y="2792015"/>
            <a:ext cx="1944172" cy="276999"/>
          </a:xfrm>
          <a:prstGeom prst="rect">
            <a:avLst/>
          </a:prstGeom>
        </p:spPr>
        <p:txBody>
          <a:bodyPr wrap="square" lIns="180000" rtlCol="0">
            <a:spAutoFit/>
          </a:bodyPr>
          <a:lstStyle/>
          <a:p>
            <a:pPr marL="0" indent="0" algn="l">
              <a:lnSpc>
                <a:spcPct val="100000"/>
              </a:lnSpc>
              <a:spcBef>
                <a:spcPts val="0"/>
              </a:spcBef>
              <a:buFontTx/>
              <a:buNone/>
            </a:pPr>
            <a:r>
              <a:rPr lang="en-GB" sz="1200" b="1" dirty="0">
                <a:solidFill>
                  <a:schemeClr val="tx1"/>
                </a:solidFill>
                <a:latin typeface="Posterama" panose="020B0504020200020000" pitchFamily="34" charset="0"/>
                <a:ea typeface="微软雅黑"/>
                <a:cs typeface="Posterama" panose="020B0504020200020000" pitchFamily="34" charset="0"/>
              </a:rPr>
              <a:t>Gold Sponsors</a:t>
            </a:r>
          </a:p>
        </p:txBody>
      </p:sp>
      <p:sp>
        <p:nvSpPr>
          <p:cNvPr id="1065" name="TextBox 1064">
            <a:extLst>
              <a:ext uri="{FF2B5EF4-FFF2-40B4-BE49-F238E27FC236}">
                <a16:creationId xmlns:a16="http://schemas.microsoft.com/office/drawing/2014/main" id="{33A75E38-8515-DE5E-7798-D001CD5F056B}"/>
              </a:ext>
            </a:extLst>
          </p:cNvPr>
          <p:cNvSpPr txBox="1"/>
          <p:nvPr userDrawn="1"/>
        </p:nvSpPr>
        <p:spPr>
          <a:xfrm>
            <a:off x="-10282" y="1116738"/>
            <a:ext cx="1979653" cy="276999"/>
          </a:xfrm>
          <a:prstGeom prst="rect">
            <a:avLst/>
          </a:prstGeom>
        </p:spPr>
        <p:txBody>
          <a:bodyPr wrap="square" lIns="180000" rtlCol="0">
            <a:spAutoFit/>
          </a:bodyPr>
          <a:lstStyle/>
          <a:p>
            <a:pPr marL="0" indent="0" algn="l">
              <a:lnSpc>
                <a:spcPct val="100000"/>
              </a:lnSpc>
              <a:spcBef>
                <a:spcPts val="0"/>
              </a:spcBef>
              <a:buFontTx/>
              <a:buNone/>
            </a:pPr>
            <a:r>
              <a:rPr lang="en-GB" sz="1200" b="1" dirty="0">
                <a:solidFill>
                  <a:schemeClr val="tx1"/>
                </a:solidFill>
                <a:latin typeface="Posterama" panose="020B0504020200020000" pitchFamily="34" charset="0"/>
                <a:ea typeface="微软雅黑"/>
                <a:cs typeface="Posterama" panose="020B0504020200020000" pitchFamily="34" charset="0"/>
              </a:rPr>
              <a:t>Platinum Sponsors</a:t>
            </a:r>
          </a:p>
        </p:txBody>
      </p:sp>
    </p:spTree>
    <p:extLst>
      <p:ext uri="{BB962C8B-B14F-4D97-AF65-F5344CB8AC3E}">
        <p14:creationId xmlns:p14="http://schemas.microsoft.com/office/powerpoint/2010/main" val="173490444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878491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52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  <p15:guide id="31" pos="3840">
          <p15:clr>
            <a:srgbClr val="5ACBF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35C9167-B5C7-4834-AC78-240C8C3EF1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588963"/>
            <a:ext cx="4158362" cy="2535236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Title square photo layout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3535540"/>
            <a:ext cx="4162425" cy="2733497"/>
          </a:xfrm>
        </p:spPr>
        <p:txBody>
          <a:bodyPr/>
          <a:lstStyle>
            <a:lvl1pPr marL="0" indent="0">
              <a:buNone/>
              <a:defRPr sz="2200">
                <a:latin typeface="+mn-lt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2E18FD0C-FA99-4937-92CD-5CF7F279CD8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37744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6BDF4B0-32EF-4DA8-9A83-B73DD83105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 dirty="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193111222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5ACBF0"/>
          </p15:clr>
        </p15:guide>
        <p15:guide id="7" orient="horz" pos="1968">
          <p15:clr>
            <a:srgbClr val="5ACBF0"/>
          </p15:clr>
        </p15:guide>
        <p15:guide id="8" orient="horz" pos="2226">
          <p15:clr>
            <a:srgbClr val="5ACBF0"/>
          </p15:clr>
        </p15:guide>
        <p15:guide id="10" pos="3729">
          <p15:clr>
            <a:srgbClr val="C35EA4"/>
          </p15:clr>
        </p15:guide>
        <p15:guide id="11" pos="2993">
          <p15:clr>
            <a:srgbClr val="5ACBF0"/>
          </p15:clr>
        </p15:guide>
        <p15:guide id="12" pos="3543">
          <p15:clr>
            <a:srgbClr val="A4A3A4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B92DE97-5F35-4963-AC7A-96FEB98062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5788"/>
            <a:ext cx="4159950" cy="5683249"/>
          </a:xfrm>
        </p:spPr>
        <p:txBody>
          <a:bodyPr anchor="ctr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EB5B31F-7AD9-4BC6-8D61-62AD8011666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37744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A09A47B-FEF5-47F3-B2DD-A73E7C3234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 dirty="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266518554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5ACBF0"/>
          </p15:clr>
        </p15:guide>
        <p15:guide id="5" orient="horz" pos="2160">
          <p15:clr>
            <a:srgbClr val="5ACBF0"/>
          </p15:clr>
        </p15:guide>
        <p15:guide id="6" pos="2991">
          <p15:clr>
            <a:srgbClr val="5ACBF0"/>
          </p15:clr>
        </p15:guide>
        <p15:guide id="7" pos="3728">
          <p15:clr>
            <a:srgbClr val="C35EA4"/>
          </p15:clr>
        </p15:guide>
        <p15:guide id="8" pos="3544">
          <p15:clr>
            <a:srgbClr val="A4A3A4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quare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4E2C6C6-B442-4DE7-9C6C-405B900531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2979738"/>
            <a:ext cx="4163125" cy="3289300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 dirty="0"/>
              <a:t>Square photo layout with smaller text</a:t>
            </a:r>
          </a:p>
        </p:txBody>
      </p:sp>
      <p:sp>
        <p:nvSpPr>
          <p:cNvPr id="4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3EBEAA94-C151-43DE-8A5A-09E8A930427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37744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C2F1290-9237-4BEE-AAAC-6708F28626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 dirty="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139493365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5ACBF0"/>
          </p15:clr>
        </p15:guide>
        <p15:guide id="3" orient="horz" pos="1877">
          <p15:clr>
            <a:srgbClr val="5ACBF0"/>
          </p15:clr>
        </p15:guide>
        <p15:guide id="4" pos="3731">
          <p15:clr>
            <a:srgbClr val="C35EA4"/>
          </p15:clr>
        </p15:guide>
        <p15:guide id="5" pos="2993">
          <p15:clr>
            <a:srgbClr val="5ACBF0"/>
          </p15:clr>
        </p15:guide>
        <p15:guide id="6" pos="3547">
          <p15:clr>
            <a:srgbClr val="A4A3A4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full bleed lower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A608AEF-BE66-4029-BA63-DA15E89C329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ltGray">
          <a:xfrm>
            <a:off x="0" y="0"/>
            <a:ext cx="12192000" cy="6858000"/>
          </a:xfrm>
          <a:blipFill>
            <a:blip r:embed="rId2"/>
            <a:stretch>
              <a:fillRect/>
            </a:stretch>
          </a:blipFill>
        </p:spPr>
        <p:txBody>
          <a:bodyPr wrap="none" bIns="1554480" anchor="ctr">
            <a:noAutofit/>
          </a:bodyPr>
          <a:lstStyle>
            <a:lvl1pPr marL="0" indent="0" algn="ctr">
              <a:buNone/>
              <a:defRPr sz="1400" b="1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033AC47-6988-4AF2-AB7A-F400B9B8392F}"/>
              </a:ext>
            </a:extLst>
          </p:cNvPr>
          <p:cNvSpPr>
            <a:spLocks noGrp="1"/>
          </p:cNvSpPr>
          <p:nvPr>
            <p:ph type="title"/>
          </p:nvPr>
        </p:nvSpPr>
        <p:spPr bwMode="ltGray">
          <a:xfrm>
            <a:off x="0" y="3657600"/>
            <a:ext cx="12192000" cy="3200400"/>
          </a:xfrm>
          <a:gradFill flip="none" rotWithShape="1">
            <a:gsLst>
              <a:gs pos="40000">
                <a:srgbClr val="000000">
                  <a:alpha val="70000"/>
                </a:srgbClr>
              </a:gs>
              <a:gs pos="100000">
                <a:srgbClr val="000000">
                  <a:alpha val="0"/>
                </a:srgbClr>
              </a:gs>
            </a:gsLst>
            <a:lin ang="16200000" scaled="1"/>
            <a:tileRect/>
          </a:gradFill>
        </p:spPr>
        <p:txBody>
          <a:bodyPr lIns="585216" tIns="585216" rIns="585216" bIns="585216" anchor="b" anchorCtr="0">
            <a:noAutofit/>
          </a:bodyPr>
          <a:lstStyle>
            <a:lvl1pPr>
              <a:defRPr sz="3600" spc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3F619C2-B134-493A-AB9F-5DE39C9299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 dirty="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87114191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304">
          <p15:clr>
            <a:srgbClr val="5ACBF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full bleed lef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A608AEF-BE66-4029-BA63-DA15E89C329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ltGray">
          <a:xfrm>
            <a:off x="0" y="0"/>
            <a:ext cx="12192000" cy="6858000"/>
          </a:xfrm>
          <a:blipFill>
            <a:blip r:embed="rId2"/>
            <a:stretch>
              <a:fillRect/>
            </a:stretch>
          </a:blipFill>
        </p:spPr>
        <p:txBody>
          <a:bodyPr wrap="none" bIns="1554480" anchor="ctr">
            <a:noAutofit/>
          </a:bodyPr>
          <a:lstStyle>
            <a:lvl1pPr marL="0" indent="0" algn="ctr">
              <a:buNone/>
              <a:defRPr sz="1400" b="1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033AC47-6988-4AF2-AB7A-F400B9B839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ltGray">
          <a:xfrm>
            <a:off x="-3" y="0"/>
            <a:ext cx="5669280" cy="6858000"/>
          </a:xfrm>
          <a:gradFill flip="none" rotWithShape="1">
            <a:gsLst>
              <a:gs pos="50000">
                <a:srgbClr val="000000">
                  <a:alpha val="70000"/>
                </a:srgb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</p:spPr>
        <p:txBody>
          <a:bodyPr lIns="585216" tIns="585216" rIns="585216" bIns="585216" anchor="ctr">
            <a:noAutofit/>
          </a:bodyPr>
          <a:lstStyle>
            <a:lvl1pPr>
              <a:defRPr sz="3600" spc="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D4894F6-B50F-43E1-83FC-4F2200B2FA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 dirty="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228228395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7" pos="3576">
          <p15:clr>
            <a:srgbClr val="5ACBF0"/>
          </p15:clr>
        </p15:guide>
        <p15:guide id="8" orient="horz" pos="2160">
          <p15:clr>
            <a:srgbClr val="5ACBF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full bleed righ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A608AEF-BE66-4029-BA63-DA15E89C329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ltGray">
          <a:xfrm>
            <a:off x="0" y="0"/>
            <a:ext cx="12192000" cy="6858000"/>
          </a:xfrm>
          <a:blipFill>
            <a:blip r:embed="rId2"/>
            <a:stretch>
              <a:fillRect/>
            </a:stretch>
          </a:blipFill>
        </p:spPr>
        <p:txBody>
          <a:bodyPr wrap="none" bIns="1554480" anchor="ctr">
            <a:noAutofit/>
          </a:bodyPr>
          <a:lstStyle>
            <a:lvl1pPr marL="0" indent="0" algn="ctr">
              <a:buNone/>
              <a:defRPr sz="1400" b="1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033AC47-6988-4AF2-AB7A-F400B9B839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ltGray">
          <a:xfrm>
            <a:off x="6522720" y="0"/>
            <a:ext cx="5669280" cy="6858000"/>
          </a:xfrm>
          <a:gradFill flip="none" rotWithShape="1">
            <a:gsLst>
              <a:gs pos="50000">
                <a:srgbClr val="000000">
                  <a:alpha val="70000"/>
                </a:srgbClr>
              </a:gs>
              <a:gs pos="100000">
                <a:srgbClr val="000000">
                  <a:alpha val="0"/>
                </a:srgbClr>
              </a:gs>
            </a:gsLst>
            <a:lin ang="10800000" scaled="1"/>
            <a:tileRect/>
          </a:gradFill>
          <a:ln>
            <a:noFill/>
          </a:ln>
        </p:spPr>
        <p:txBody>
          <a:bodyPr lIns="585216" tIns="585216" rIns="585216" bIns="585216" anchor="ctr">
            <a:noAutofit/>
          </a:bodyPr>
          <a:lstStyle>
            <a:lvl1pPr algn="r">
              <a:defRPr sz="3600" spc="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629011D-E3B4-416F-9D7F-7A99AE49F6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 dirty="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285192373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7" pos="4105">
          <p15:clr>
            <a:srgbClr val="5ACBF0"/>
          </p15:clr>
        </p15:guide>
        <p15:guide id="8" orient="horz" pos="2160">
          <p15:clr>
            <a:srgbClr val="5ACBF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p horizontal photo an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E01E45-D858-46CB-8C37-2ADA7A8B4F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157216"/>
            <a:ext cx="11018520" cy="1111822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EB5B31F-7AD9-4BC6-8D61-62AD8011666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4572000"/>
          </a:xfrm>
          <a:blipFill>
            <a:blip r:embed="rId2"/>
            <a:stretch>
              <a:fillRect/>
            </a:stretch>
          </a:blipFill>
        </p:spPr>
        <p:txBody>
          <a:bodyPr vert="horz" wrap="square" lIns="0" tIns="1280160" rIns="0" bIns="0" rtlCol="0" anchor="t" anchorCtr="0">
            <a:noAutofit/>
          </a:bodyPr>
          <a:lstStyle>
            <a:lvl1pPr marL="0" indent="0" algn="ctr">
              <a:buNone/>
              <a:defRPr lang="en-US" sz="1400" b="1" dirty="0">
                <a:solidFill>
                  <a:srgbClr val="000000"/>
                </a:solidFill>
              </a:defRPr>
            </a:lvl1pPr>
          </a:lstStyle>
          <a:p>
            <a:pPr marL="228600" lvl="0" indent="-228600" algn="ctr"/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A996C37-D0C9-4349-A860-B639C4EB9D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 dirty="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294491604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5" orient="horz" pos="2880">
          <p15:clr>
            <a:srgbClr val="5ACBF0"/>
          </p15:clr>
        </p15:guide>
        <p15:guide id="6" orient="horz" pos="3600">
          <p15:clr>
            <a:srgbClr val="5ACBF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ttom horizontal photo an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5563AC-3A0B-4839-A9DC-F00E8E5411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5788"/>
            <a:ext cx="11018520" cy="1114996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EB5B31F-7AD9-4BC6-8D61-62AD8011666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-2381" y="2286000"/>
            <a:ext cx="12192000" cy="4572000"/>
          </a:xfrm>
          <a:blipFill>
            <a:blip r:embed="rId2"/>
            <a:stretch>
              <a:fillRect/>
            </a:stretch>
          </a:blipFill>
        </p:spPr>
        <p:txBody>
          <a:bodyPr vert="horz" wrap="square" lIns="0" tIns="1371600" rIns="0" bIns="0" rtlCol="0" anchor="t" anchorCtr="0">
            <a:noAutofit/>
          </a:bodyPr>
          <a:lstStyle>
            <a:lvl1pPr marL="0" indent="0" algn="ctr">
              <a:buNone/>
              <a:defRPr lang="en-US" sz="1400" b="1" dirty="0">
                <a:solidFill>
                  <a:srgbClr val="000000"/>
                </a:solidFill>
              </a:defRPr>
            </a:lvl1pPr>
          </a:lstStyle>
          <a:p>
            <a:pPr marL="228600" lvl="0" indent="-228600" algn="ctr"/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D6FDE6F-0F4B-446A-A51F-494FB09966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 dirty="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4937869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5" orient="horz" pos="1440">
          <p15:clr>
            <a:srgbClr val="5ACBF0"/>
          </p15:clr>
        </p15:guide>
        <p15:guide id="6" orient="horz" pos="720">
          <p15:clr>
            <a:srgbClr val="5ACBF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27DCA08-1117-4B11-AEFD-AAB2B33543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98323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833B58-0629-4A46-8711-902C16A9931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199" y="5689600"/>
            <a:ext cx="5367528" cy="579438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231301F-62BD-4CF6-8990-CDF00AFC8CC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582612" y="2025650"/>
            <a:ext cx="5367528" cy="3474720"/>
          </a:xfrm>
          <a:blipFill>
            <a:blip r:embed="rId2"/>
            <a:stretch>
              <a:fillRect/>
            </a:stretch>
          </a:blipFill>
        </p:spPr>
        <p:txBody>
          <a:bodyPr vert="horz" wrap="square" lIns="0" tIns="0" rIns="0" bIns="1005840" rtlCol="0" anchor="ctr" anchorCtr="0">
            <a:noAutofit/>
          </a:bodyPr>
          <a:lstStyle>
            <a:lvl1pPr marL="0" indent="0" algn="ctr">
              <a:buNone/>
              <a:defRPr lang="en-US" sz="1000" b="1" dirty="0">
                <a:solidFill>
                  <a:srgbClr val="000000"/>
                </a:solidFill>
              </a:defRPr>
            </a:lvl1pPr>
          </a:lstStyle>
          <a:p>
            <a:pPr marL="228600" lvl="0" indent="-228600" algn="ctr"/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05B401B2-8D93-427E-90A4-52337B3965E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1860" y="5689600"/>
            <a:ext cx="5367528" cy="579438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223C820-5673-4288-A9D6-185A95066B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ltGray">
          <a:xfrm>
            <a:off x="6239255" y="2025650"/>
            <a:ext cx="5367528" cy="3474720"/>
          </a:xfrm>
          <a:blipFill>
            <a:blip r:embed="rId3"/>
            <a:stretch>
              <a:fillRect/>
            </a:stretch>
          </a:blipFill>
        </p:spPr>
        <p:txBody>
          <a:bodyPr vert="horz" wrap="square" lIns="0" tIns="0" rIns="0" bIns="1005840" rtlCol="0" anchor="ctr" anchorCtr="0">
            <a:noAutofit/>
          </a:bodyPr>
          <a:lstStyle>
            <a:lvl1pPr marL="0" indent="0" algn="ctr">
              <a:buNone/>
              <a:defRPr lang="en-US" sz="1000" b="1" dirty="0">
                <a:solidFill>
                  <a:srgbClr val="000000"/>
                </a:solidFill>
              </a:defRPr>
            </a:lvl1pPr>
          </a:lstStyle>
          <a:p>
            <a:pPr marL="228600" lvl="0" indent="-228600" algn="ctr"/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AF59E09-7602-42B9-AB0C-9D1365A9EBB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 dirty="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378636181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3584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3749">
          <p15:clr>
            <a:srgbClr val="5ACBF0"/>
          </p15:clr>
        </p15:guide>
        <p15:guide id="7" pos="3931">
          <p15:clr>
            <a:srgbClr val="5ACBF0"/>
          </p15:clr>
        </p15:guide>
        <p15:guide id="8" orient="horz" pos="3464">
          <p15:clr>
            <a:srgbClr val="5ACBF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>
            <a:extLst>
              <a:ext uri="{FF2B5EF4-FFF2-40B4-BE49-F238E27FC236}">
                <a16:creationId xmlns:a16="http://schemas.microsoft.com/office/drawing/2014/main" id="{5518B595-5A04-0768-52B1-73F11E4754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0476" y="2826795"/>
            <a:ext cx="4253399" cy="1740114"/>
          </a:xfrm>
        </p:spPr>
        <p:txBody>
          <a:bodyPr>
            <a:noAutofit/>
          </a:bodyPr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7" name="Freeform: Shape 4">
            <a:extLst>
              <a:ext uri="{FF2B5EF4-FFF2-40B4-BE49-F238E27FC236}">
                <a16:creationId xmlns:a16="http://schemas.microsoft.com/office/drawing/2014/main" id="{AE722AFD-22D7-4BD8-B055-3867C3800E16}"/>
              </a:ext>
            </a:extLst>
          </p:cNvPr>
          <p:cNvSpPr/>
          <p:nvPr userDrawn="1"/>
        </p:nvSpPr>
        <p:spPr>
          <a:xfrm>
            <a:off x="6282845" y="525294"/>
            <a:ext cx="1913128" cy="2140085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  <a:gd name="connsiteX0" fmla="*/ 2187388 w 4387647"/>
              <a:gd name="connsiteY0" fmla="*/ 0 h 5032188"/>
              <a:gd name="connsiteX1" fmla="*/ 4386729 w 4387647"/>
              <a:gd name="connsiteY1" fmla="*/ 1261035 h 5032188"/>
              <a:gd name="connsiteX2" fmla="*/ 4384192 w 4387647"/>
              <a:gd name="connsiteY2" fmla="*/ 3783287 h 5032188"/>
              <a:gd name="connsiteX3" fmla="*/ 2193365 w 4387647"/>
              <a:gd name="connsiteY3" fmla="*/ 5032188 h 5032188"/>
              <a:gd name="connsiteX4" fmla="*/ 0 w 4387647"/>
              <a:gd name="connsiteY4" fmla="*/ 3783106 h 5032188"/>
              <a:gd name="connsiteX5" fmla="*/ 0 w 4387647"/>
              <a:gd name="connsiteY5" fmla="*/ 1267012 h 5032188"/>
              <a:gd name="connsiteX6" fmla="*/ 2187388 w 4387647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87647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80208" y="2940604"/>
                  <a:pt x="4384192" y="3783287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gradFill>
            <a:gsLst>
              <a:gs pos="100000">
                <a:srgbClr val="E7E6E6"/>
              </a:gs>
              <a:gs pos="0">
                <a:srgbClr val="00E0D0"/>
              </a:gs>
            </a:gsLst>
            <a:lin ang="5400000" scaled="1"/>
          </a:gra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800" dirty="0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5D0355E4-3980-42A9-9376-74163520D39D}"/>
              </a:ext>
            </a:extLst>
          </p:cNvPr>
          <p:cNvSpPr/>
          <p:nvPr userDrawn="1"/>
        </p:nvSpPr>
        <p:spPr>
          <a:xfrm>
            <a:off x="8375472" y="496110"/>
            <a:ext cx="1913128" cy="2159541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  <a:gd name="connsiteX0" fmla="*/ 2187388 w 4387647"/>
              <a:gd name="connsiteY0" fmla="*/ 0 h 5032188"/>
              <a:gd name="connsiteX1" fmla="*/ 4386729 w 4387647"/>
              <a:gd name="connsiteY1" fmla="*/ 1261035 h 5032188"/>
              <a:gd name="connsiteX2" fmla="*/ 4384192 w 4387647"/>
              <a:gd name="connsiteY2" fmla="*/ 3783287 h 5032188"/>
              <a:gd name="connsiteX3" fmla="*/ 2193365 w 4387647"/>
              <a:gd name="connsiteY3" fmla="*/ 5032188 h 5032188"/>
              <a:gd name="connsiteX4" fmla="*/ 0 w 4387647"/>
              <a:gd name="connsiteY4" fmla="*/ 3783106 h 5032188"/>
              <a:gd name="connsiteX5" fmla="*/ 0 w 4387647"/>
              <a:gd name="connsiteY5" fmla="*/ 1267012 h 5032188"/>
              <a:gd name="connsiteX6" fmla="*/ 2187388 w 4387647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87647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80208" y="2940604"/>
                  <a:pt x="4384192" y="3783287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gradFill>
            <a:gsLst>
              <a:gs pos="100000">
                <a:srgbClr val="E7E6E6"/>
              </a:gs>
              <a:gs pos="0">
                <a:srgbClr val="00E0D0"/>
              </a:gs>
            </a:gsLst>
            <a:lin ang="5400000" scaled="1"/>
          </a:gra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70174533-8C0E-4E82-A582-891A0555FA1F}"/>
              </a:ext>
            </a:extLst>
          </p:cNvPr>
          <p:cNvSpPr/>
          <p:nvPr userDrawn="1"/>
        </p:nvSpPr>
        <p:spPr>
          <a:xfrm>
            <a:off x="7328126" y="2310315"/>
            <a:ext cx="1913128" cy="2159541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  <a:gd name="connsiteX0" fmla="*/ 2187388 w 4387647"/>
              <a:gd name="connsiteY0" fmla="*/ 0 h 5032188"/>
              <a:gd name="connsiteX1" fmla="*/ 4386729 w 4387647"/>
              <a:gd name="connsiteY1" fmla="*/ 1261035 h 5032188"/>
              <a:gd name="connsiteX2" fmla="*/ 4384192 w 4387647"/>
              <a:gd name="connsiteY2" fmla="*/ 3783287 h 5032188"/>
              <a:gd name="connsiteX3" fmla="*/ 2193365 w 4387647"/>
              <a:gd name="connsiteY3" fmla="*/ 5032188 h 5032188"/>
              <a:gd name="connsiteX4" fmla="*/ 0 w 4387647"/>
              <a:gd name="connsiteY4" fmla="*/ 3783106 h 5032188"/>
              <a:gd name="connsiteX5" fmla="*/ 0 w 4387647"/>
              <a:gd name="connsiteY5" fmla="*/ 1267012 h 5032188"/>
              <a:gd name="connsiteX6" fmla="*/ 2187388 w 4387647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87647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80208" y="2940604"/>
                  <a:pt x="4384192" y="3783287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gradFill>
            <a:gsLst>
              <a:gs pos="0">
                <a:srgbClr val="E7E6E6"/>
              </a:gs>
              <a:gs pos="100000">
                <a:srgbClr val="00E0D0"/>
              </a:gs>
            </a:gsLst>
            <a:lin ang="5400000" scaled="1"/>
          </a:gra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071E3938-A754-4D49-B509-249EE9BD83AB}"/>
              </a:ext>
            </a:extLst>
          </p:cNvPr>
          <p:cNvSpPr/>
          <p:nvPr userDrawn="1"/>
        </p:nvSpPr>
        <p:spPr>
          <a:xfrm>
            <a:off x="8375472" y="4095335"/>
            <a:ext cx="1913128" cy="2159541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  <a:gd name="connsiteX0" fmla="*/ 2187388 w 4387647"/>
              <a:gd name="connsiteY0" fmla="*/ 0 h 5032188"/>
              <a:gd name="connsiteX1" fmla="*/ 4386729 w 4387647"/>
              <a:gd name="connsiteY1" fmla="*/ 1261035 h 5032188"/>
              <a:gd name="connsiteX2" fmla="*/ 4384192 w 4387647"/>
              <a:gd name="connsiteY2" fmla="*/ 3783287 h 5032188"/>
              <a:gd name="connsiteX3" fmla="*/ 2193365 w 4387647"/>
              <a:gd name="connsiteY3" fmla="*/ 5032188 h 5032188"/>
              <a:gd name="connsiteX4" fmla="*/ 0 w 4387647"/>
              <a:gd name="connsiteY4" fmla="*/ 3783106 h 5032188"/>
              <a:gd name="connsiteX5" fmla="*/ 0 w 4387647"/>
              <a:gd name="connsiteY5" fmla="*/ 1267012 h 5032188"/>
              <a:gd name="connsiteX6" fmla="*/ 2187388 w 4387647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87647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80208" y="2940604"/>
                  <a:pt x="4384192" y="3783287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gradFill>
            <a:gsLst>
              <a:gs pos="100000">
                <a:srgbClr val="E7E6E6"/>
              </a:gs>
              <a:gs pos="0">
                <a:srgbClr val="00E0D0"/>
              </a:gs>
            </a:gsLst>
            <a:lin ang="5400000" scaled="1"/>
          </a:gra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B9D430ED-A815-4274-966C-8192C4230569}"/>
              </a:ext>
            </a:extLst>
          </p:cNvPr>
          <p:cNvSpPr/>
          <p:nvPr userDrawn="1"/>
        </p:nvSpPr>
        <p:spPr>
          <a:xfrm>
            <a:off x="9403474" y="2310314"/>
            <a:ext cx="1913128" cy="2159541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  <a:gd name="connsiteX0" fmla="*/ 2187388 w 4387647"/>
              <a:gd name="connsiteY0" fmla="*/ 0 h 5032188"/>
              <a:gd name="connsiteX1" fmla="*/ 4386729 w 4387647"/>
              <a:gd name="connsiteY1" fmla="*/ 1261035 h 5032188"/>
              <a:gd name="connsiteX2" fmla="*/ 4384192 w 4387647"/>
              <a:gd name="connsiteY2" fmla="*/ 3783287 h 5032188"/>
              <a:gd name="connsiteX3" fmla="*/ 2193365 w 4387647"/>
              <a:gd name="connsiteY3" fmla="*/ 5032188 h 5032188"/>
              <a:gd name="connsiteX4" fmla="*/ 0 w 4387647"/>
              <a:gd name="connsiteY4" fmla="*/ 3783106 h 5032188"/>
              <a:gd name="connsiteX5" fmla="*/ 0 w 4387647"/>
              <a:gd name="connsiteY5" fmla="*/ 1267012 h 5032188"/>
              <a:gd name="connsiteX6" fmla="*/ 2187388 w 4387647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87647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80208" y="2940604"/>
                  <a:pt x="4384192" y="3783287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gradFill>
            <a:gsLst>
              <a:gs pos="0">
                <a:srgbClr val="E7E6E6"/>
              </a:gs>
              <a:gs pos="100000">
                <a:srgbClr val="00E0D0"/>
              </a:gs>
            </a:gsLst>
            <a:lin ang="5400000" scaled="1"/>
          </a:gra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4" name="Content placeholder 47" descr="Click icon to add picture">
            <a:extLst>
              <a:ext uri="{FF2B5EF4-FFF2-40B4-BE49-F238E27FC236}">
                <a16:creationId xmlns:a16="http://schemas.microsoft.com/office/drawing/2014/main" id="{5414CF94-2913-4AE7-AAC3-3D61FE74288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74027" y="1076241"/>
            <a:ext cx="1913128" cy="105472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1800" b="0" i="0">
                <a:solidFill>
                  <a:schemeClr val="accent6"/>
                </a:solidFill>
                <a:latin typeface="Abadi" panose="020B0604020104020204" pitchFamily="34" charset="0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</a:t>
            </a:r>
            <a:r>
              <a:rPr lang="zh-CN" altLang="en-US" dirty="0"/>
              <a:t> </a:t>
            </a:r>
            <a:r>
              <a:rPr lang="en-US" altLang="zh-CN" dirty="0"/>
              <a:t>Master title style </a:t>
            </a:r>
          </a:p>
        </p:txBody>
      </p:sp>
      <p:sp>
        <p:nvSpPr>
          <p:cNvPr id="26" name="Content placeholder 47" descr="Click icon to add picture">
            <a:extLst>
              <a:ext uri="{FF2B5EF4-FFF2-40B4-BE49-F238E27FC236}">
                <a16:creationId xmlns:a16="http://schemas.microsoft.com/office/drawing/2014/main" id="{3CE3485A-395E-4C5F-A00F-D230FF7CFB9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375472" y="1076241"/>
            <a:ext cx="1904890" cy="105472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13000"/>
              </a:lnSpc>
              <a:buNone/>
              <a:defRPr sz="1800" b="0" i="0">
                <a:solidFill>
                  <a:schemeClr val="accent6"/>
                </a:solidFill>
                <a:latin typeface="Abadi" panose="020B0604020104020204" pitchFamily="34" charset="0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 </a:t>
            </a:r>
            <a:r>
              <a:rPr lang="zh-CN" altLang="en-US" dirty="0"/>
              <a:t> </a:t>
            </a:r>
            <a:r>
              <a:rPr lang="en-US" altLang="zh-CN" dirty="0"/>
              <a:t>Master title style </a:t>
            </a:r>
          </a:p>
        </p:txBody>
      </p:sp>
      <p:sp>
        <p:nvSpPr>
          <p:cNvPr id="33" name="Content placeholder 47" descr="Click icon to add picture">
            <a:extLst>
              <a:ext uri="{FF2B5EF4-FFF2-40B4-BE49-F238E27FC236}">
                <a16:creationId xmlns:a16="http://schemas.microsoft.com/office/drawing/2014/main" id="{6A8DFBFF-5B07-49C6-ADB8-341FCD1E753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321949" y="2844725"/>
            <a:ext cx="1914694" cy="108919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13000"/>
              </a:lnSpc>
              <a:buNone/>
              <a:defRPr sz="1800" b="0" i="0">
                <a:solidFill>
                  <a:schemeClr val="accent6"/>
                </a:solidFill>
                <a:latin typeface="Abadi" panose="020B0604020104020204" pitchFamily="34" charset="0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 Master title style </a:t>
            </a:r>
          </a:p>
        </p:txBody>
      </p:sp>
      <p:sp>
        <p:nvSpPr>
          <p:cNvPr id="34" name="Content placeholder 47" descr="Click icon to add picture">
            <a:extLst>
              <a:ext uri="{FF2B5EF4-FFF2-40B4-BE49-F238E27FC236}">
                <a16:creationId xmlns:a16="http://schemas.microsoft.com/office/drawing/2014/main" id="{1AC7F192-CFC3-470A-9467-330212C6F52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409651" y="2826795"/>
            <a:ext cx="1913128" cy="11071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13000"/>
              </a:lnSpc>
              <a:buNone/>
              <a:defRPr sz="1800" b="0" i="0">
                <a:solidFill>
                  <a:schemeClr val="accent6"/>
                </a:solidFill>
                <a:latin typeface="Abadi" panose="020B0604020104020204" pitchFamily="34" charset="0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 Master title style </a:t>
            </a:r>
          </a:p>
        </p:txBody>
      </p:sp>
      <p:sp>
        <p:nvSpPr>
          <p:cNvPr id="35" name="Content placeholder 47" descr="Click icon to add picture">
            <a:extLst>
              <a:ext uri="{FF2B5EF4-FFF2-40B4-BE49-F238E27FC236}">
                <a16:creationId xmlns:a16="http://schemas.microsoft.com/office/drawing/2014/main" id="{A5D53FF3-B0CD-4D31-9128-2D2E0E89F0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367234" y="4631270"/>
            <a:ext cx="1913128" cy="1075689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13000"/>
              </a:lnSpc>
              <a:buNone/>
              <a:defRPr sz="1800" b="0" i="0">
                <a:solidFill>
                  <a:schemeClr val="accent6"/>
                </a:solidFill>
                <a:latin typeface="Abadi" panose="020B0604020104020204" pitchFamily="34" charset="0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 Master title style </a:t>
            </a:r>
          </a:p>
        </p:txBody>
      </p:sp>
      <p:sp>
        <p:nvSpPr>
          <p:cNvPr id="29" name="Freeform 28">
            <a:extLst>
              <a:ext uri="{FF2B5EF4-FFF2-40B4-BE49-F238E27FC236}">
                <a16:creationId xmlns:a16="http://schemas.microsoft.com/office/drawing/2014/main" id="{0B88ADED-0863-78D3-7710-E131932E965F}"/>
              </a:ext>
            </a:extLst>
          </p:cNvPr>
          <p:cNvSpPr/>
          <p:nvPr userDrawn="1"/>
        </p:nvSpPr>
        <p:spPr>
          <a:xfrm>
            <a:off x="10460480" y="505838"/>
            <a:ext cx="1731521" cy="2159541"/>
          </a:xfrm>
          <a:custGeom>
            <a:avLst/>
            <a:gdLst>
              <a:gd name="connsiteX0" fmla="*/ 953758 w 1731521"/>
              <a:gd name="connsiteY0" fmla="*/ 0 h 2159541"/>
              <a:gd name="connsiteX1" fmla="*/ 1731521 w 1731521"/>
              <a:gd name="connsiteY1" fmla="*/ 438909 h 2159541"/>
              <a:gd name="connsiteX2" fmla="*/ 1731521 w 1731521"/>
              <a:gd name="connsiteY2" fmla="*/ 1724628 h 2159541"/>
              <a:gd name="connsiteX3" fmla="*/ 956364 w 1731521"/>
              <a:gd name="connsiteY3" fmla="*/ 2159541 h 2159541"/>
              <a:gd name="connsiteX4" fmla="*/ 0 w 1731521"/>
              <a:gd name="connsiteY4" fmla="*/ 1623503 h 2159541"/>
              <a:gd name="connsiteX5" fmla="*/ 0 w 1731521"/>
              <a:gd name="connsiteY5" fmla="*/ 543733 h 21595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31521" h="2159541">
                <a:moveTo>
                  <a:pt x="953758" y="0"/>
                </a:moveTo>
                <a:lnTo>
                  <a:pt x="1731521" y="438909"/>
                </a:lnTo>
                <a:lnTo>
                  <a:pt x="1731521" y="1724628"/>
                </a:lnTo>
                <a:lnTo>
                  <a:pt x="956364" y="2159541"/>
                </a:lnTo>
                <a:lnTo>
                  <a:pt x="0" y="1623503"/>
                </a:lnTo>
                <a:lnTo>
                  <a:pt x="0" y="543733"/>
                </a:lnTo>
                <a:close/>
              </a:path>
            </a:pathLst>
          </a:custGeom>
          <a:noFill/>
          <a:ln w="19050">
            <a:gradFill>
              <a:gsLst>
                <a:gs pos="0">
                  <a:srgbClr val="4BBBC4"/>
                </a:gs>
                <a:gs pos="100000">
                  <a:srgbClr val="7363A8"/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8" name="Freeform 27">
            <a:extLst>
              <a:ext uri="{FF2B5EF4-FFF2-40B4-BE49-F238E27FC236}">
                <a16:creationId xmlns:a16="http://schemas.microsoft.com/office/drawing/2014/main" id="{32435EB1-8BEE-9EEE-D9E4-E53D56B7E09C}"/>
              </a:ext>
            </a:extLst>
          </p:cNvPr>
          <p:cNvSpPr/>
          <p:nvPr userDrawn="1"/>
        </p:nvSpPr>
        <p:spPr>
          <a:xfrm>
            <a:off x="11498097" y="2436654"/>
            <a:ext cx="698022" cy="1868948"/>
          </a:xfrm>
          <a:custGeom>
            <a:avLst/>
            <a:gdLst>
              <a:gd name="connsiteX0" fmla="*/ 698022 w 698022"/>
              <a:gd name="connsiteY0" fmla="*/ 0 h 1868948"/>
              <a:gd name="connsiteX1" fmla="*/ 698022 w 698022"/>
              <a:gd name="connsiteY1" fmla="*/ 1868948 h 1868948"/>
              <a:gd name="connsiteX2" fmla="*/ 0 w 698022"/>
              <a:gd name="connsiteY2" fmla="*/ 1477709 h 1868948"/>
              <a:gd name="connsiteX3" fmla="*/ 0 w 698022"/>
              <a:gd name="connsiteY3" fmla="*/ 397939 h 1868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8022" h="1868948">
                <a:moveTo>
                  <a:pt x="698022" y="0"/>
                </a:moveTo>
                <a:lnTo>
                  <a:pt x="698022" y="1868948"/>
                </a:lnTo>
                <a:lnTo>
                  <a:pt x="0" y="1477709"/>
                </a:lnTo>
                <a:lnTo>
                  <a:pt x="0" y="397939"/>
                </a:lnTo>
                <a:close/>
              </a:path>
            </a:pathLst>
          </a:custGeom>
          <a:noFill/>
          <a:ln w="19050">
            <a:gradFill>
              <a:gsLst>
                <a:gs pos="0">
                  <a:srgbClr val="4BBBC4"/>
                </a:gs>
                <a:gs pos="100000">
                  <a:srgbClr val="7363A8"/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30" name="Freeform 29">
            <a:extLst>
              <a:ext uri="{FF2B5EF4-FFF2-40B4-BE49-F238E27FC236}">
                <a16:creationId xmlns:a16="http://schemas.microsoft.com/office/drawing/2014/main" id="{2692688E-3654-181E-6244-F2CED7612746}"/>
              </a:ext>
            </a:extLst>
          </p:cNvPr>
          <p:cNvSpPr/>
          <p:nvPr userDrawn="1"/>
        </p:nvSpPr>
        <p:spPr>
          <a:xfrm>
            <a:off x="10460480" y="4114794"/>
            <a:ext cx="1731521" cy="2159541"/>
          </a:xfrm>
          <a:custGeom>
            <a:avLst/>
            <a:gdLst>
              <a:gd name="connsiteX0" fmla="*/ 953758 w 1731521"/>
              <a:gd name="connsiteY0" fmla="*/ 0 h 2159541"/>
              <a:gd name="connsiteX1" fmla="*/ 1731521 w 1731521"/>
              <a:gd name="connsiteY1" fmla="*/ 438909 h 2159541"/>
              <a:gd name="connsiteX2" fmla="*/ 1731521 w 1731521"/>
              <a:gd name="connsiteY2" fmla="*/ 1724629 h 2159541"/>
              <a:gd name="connsiteX3" fmla="*/ 956364 w 1731521"/>
              <a:gd name="connsiteY3" fmla="*/ 2159541 h 2159541"/>
              <a:gd name="connsiteX4" fmla="*/ 0 w 1731521"/>
              <a:gd name="connsiteY4" fmla="*/ 1623503 h 2159541"/>
              <a:gd name="connsiteX5" fmla="*/ 0 w 1731521"/>
              <a:gd name="connsiteY5" fmla="*/ 543733 h 21595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31521" h="2159541">
                <a:moveTo>
                  <a:pt x="953758" y="0"/>
                </a:moveTo>
                <a:lnTo>
                  <a:pt x="1731521" y="438909"/>
                </a:lnTo>
                <a:lnTo>
                  <a:pt x="1731521" y="1724629"/>
                </a:lnTo>
                <a:lnTo>
                  <a:pt x="956364" y="2159541"/>
                </a:lnTo>
                <a:lnTo>
                  <a:pt x="0" y="1623503"/>
                </a:lnTo>
                <a:lnTo>
                  <a:pt x="0" y="543733"/>
                </a:lnTo>
                <a:close/>
              </a:path>
            </a:pathLst>
          </a:custGeom>
          <a:noFill/>
          <a:ln w="19050">
            <a:gradFill>
              <a:gsLst>
                <a:gs pos="0">
                  <a:srgbClr val="4BBBC4"/>
                </a:gs>
                <a:gs pos="100000">
                  <a:srgbClr val="7363A8"/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73093633-6A91-42B5-961C-4B3A5DDF2146}"/>
              </a:ext>
            </a:extLst>
          </p:cNvPr>
          <p:cNvSpPr/>
          <p:nvPr userDrawn="1"/>
        </p:nvSpPr>
        <p:spPr>
          <a:xfrm>
            <a:off x="6310033" y="4056424"/>
            <a:ext cx="1913128" cy="2159541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  <a:gd name="connsiteX0" fmla="*/ 2187388 w 4387647"/>
              <a:gd name="connsiteY0" fmla="*/ 0 h 5032188"/>
              <a:gd name="connsiteX1" fmla="*/ 4386729 w 4387647"/>
              <a:gd name="connsiteY1" fmla="*/ 1261035 h 5032188"/>
              <a:gd name="connsiteX2" fmla="*/ 4384192 w 4387647"/>
              <a:gd name="connsiteY2" fmla="*/ 3783287 h 5032188"/>
              <a:gd name="connsiteX3" fmla="*/ 2193365 w 4387647"/>
              <a:gd name="connsiteY3" fmla="*/ 5032188 h 5032188"/>
              <a:gd name="connsiteX4" fmla="*/ 0 w 4387647"/>
              <a:gd name="connsiteY4" fmla="*/ 3783106 h 5032188"/>
              <a:gd name="connsiteX5" fmla="*/ 0 w 4387647"/>
              <a:gd name="connsiteY5" fmla="*/ 1267012 h 5032188"/>
              <a:gd name="connsiteX6" fmla="*/ 2187388 w 4387647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87647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80208" y="2940604"/>
                  <a:pt x="4384192" y="3783287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noFill/>
          <a:ln w="19050">
            <a:gradFill>
              <a:gsLst>
                <a:gs pos="0">
                  <a:srgbClr val="4BBBC4"/>
                </a:gs>
                <a:gs pos="100000">
                  <a:srgbClr val="7363A8"/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1D63CF61-0674-5E14-6374-920C2F1DA8B4}"/>
              </a:ext>
            </a:extLst>
          </p:cNvPr>
          <p:cNvSpPr/>
          <p:nvPr userDrawn="1"/>
        </p:nvSpPr>
        <p:spPr>
          <a:xfrm>
            <a:off x="7332109" y="5873794"/>
            <a:ext cx="1912728" cy="984207"/>
          </a:xfrm>
          <a:custGeom>
            <a:avLst/>
            <a:gdLst>
              <a:gd name="connsiteX0" fmla="*/ 953758 w 1912728"/>
              <a:gd name="connsiteY0" fmla="*/ 0 h 984207"/>
              <a:gd name="connsiteX1" fmla="*/ 1912728 w 1912728"/>
              <a:gd name="connsiteY1" fmla="*/ 536292 h 984207"/>
              <a:gd name="connsiteX2" fmla="*/ 1912266 w 1912728"/>
              <a:gd name="connsiteY2" fmla="*/ 984207 h 984207"/>
              <a:gd name="connsiteX3" fmla="*/ 0 w 1912728"/>
              <a:gd name="connsiteY3" fmla="*/ 984207 h 984207"/>
              <a:gd name="connsiteX4" fmla="*/ 0 w 1912728"/>
              <a:gd name="connsiteY4" fmla="*/ 538834 h 984207"/>
              <a:gd name="connsiteX5" fmla="*/ 953758 w 1912728"/>
              <a:gd name="connsiteY5" fmla="*/ 0 h 9842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12728" h="984207">
                <a:moveTo>
                  <a:pt x="953758" y="0"/>
                </a:moveTo>
                <a:lnTo>
                  <a:pt x="1912728" y="536292"/>
                </a:lnTo>
                <a:lnTo>
                  <a:pt x="1912266" y="984207"/>
                </a:lnTo>
                <a:lnTo>
                  <a:pt x="0" y="984207"/>
                </a:lnTo>
                <a:lnTo>
                  <a:pt x="0" y="538834"/>
                </a:lnTo>
                <a:lnTo>
                  <a:pt x="953758" y="0"/>
                </a:lnTo>
                <a:close/>
              </a:path>
            </a:pathLst>
          </a:custGeom>
          <a:noFill/>
          <a:ln w="19050">
            <a:gradFill>
              <a:gsLst>
                <a:gs pos="0">
                  <a:srgbClr val="4BBBC4"/>
                </a:gs>
                <a:gs pos="100000">
                  <a:srgbClr val="7363A8"/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GB"/>
          </a:p>
        </p:txBody>
      </p:sp>
      <p:pic>
        <p:nvPicPr>
          <p:cNvPr id="38" name="Graphic 37">
            <a:extLst>
              <a:ext uri="{FF2B5EF4-FFF2-40B4-BE49-F238E27FC236}">
                <a16:creationId xmlns:a16="http://schemas.microsoft.com/office/drawing/2014/main" id="{42E92D25-8432-D014-6C6C-A06CC833A20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261862">
            <a:off x="10541774" y="1116249"/>
            <a:ext cx="1684923" cy="1325563"/>
          </a:xfrm>
          <a:prstGeom prst="rect">
            <a:avLst/>
          </a:prstGeom>
        </p:spPr>
      </p:pic>
      <p:sp>
        <p:nvSpPr>
          <p:cNvPr id="4" name="Freeform: Shape 3">
            <a:extLst>
              <a:ext uri="{FF2B5EF4-FFF2-40B4-BE49-F238E27FC236}">
                <a16:creationId xmlns:a16="http://schemas.microsoft.com/office/drawing/2014/main" id="{C0DFF554-13A7-2B17-D146-0E718A19A789}"/>
              </a:ext>
            </a:extLst>
          </p:cNvPr>
          <p:cNvSpPr/>
          <p:nvPr userDrawn="1"/>
        </p:nvSpPr>
        <p:spPr>
          <a:xfrm>
            <a:off x="7310847" y="12889"/>
            <a:ext cx="1912032" cy="937448"/>
          </a:xfrm>
          <a:custGeom>
            <a:avLst/>
            <a:gdLst>
              <a:gd name="connsiteX0" fmla="*/ 0 w 1912032"/>
              <a:gd name="connsiteY0" fmla="*/ 0 h 937448"/>
              <a:gd name="connsiteX1" fmla="*/ 1912032 w 1912032"/>
              <a:gd name="connsiteY1" fmla="*/ 0 h 937448"/>
              <a:gd name="connsiteX2" fmla="*/ 1911621 w 1912032"/>
              <a:gd name="connsiteY2" fmla="*/ 401488 h 937448"/>
              <a:gd name="connsiteX3" fmla="*/ 956364 w 1912032"/>
              <a:gd name="connsiteY3" fmla="*/ 937448 h 937448"/>
              <a:gd name="connsiteX4" fmla="*/ 0 w 1912032"/>
              <a:gd name="connsiteY4" fmla="*/ 401410 h 937448"/>
              <a:gd name="connsiteX5" fmla="*/ 0 w 1912032"/>
              <a:gd name="connsiteY5" fmla="*/ 0 h 937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12032" h="937448">
                <a:moveTo>
                  <a:pt x="0" y="0"/>
                </a:moveTo>
                <a:lnTo>
                  <a:pt x="1912032" y="0"/>
                </a:lnTo>
                <a:lnTo>
                  <a:pt x="1911621" y="401488"/>
                </a:lnTo>
                <a:lnTo>
                  <a:pt x="956364" y="937448"/>
                </a:lnTo>
                <a:lnTo>
                  <a:pt x="0" y="401410"/>
                </a:lnTo>
                <a:lnTo>
                  <a:pt x="0" y="0"/>
                </a:lnTo>
                <a:close/>
              </a:path>
            </a:pathLst>
          </a:custGeom>
          <a:noFill/>
          <a:ln w="19050">
            <a:gradFill>
              <a:gsLst>
                <a:gs pos="0">
                  <a:srgbClr val="4BBBC4"/>
                </a:gs>
                <a:gs pos="100000">
                  <a:srgbClr val="7363A8"/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620970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8">
          <p15:clr>
            <a:srgbClr val="FBAE40"/>
          </p15:clr>
        </p15:guide>
        <p15:guide id="2" pos="504" userDrawn="1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260F77E-464D-46F7-A8F8-6F281DAB0C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98323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833B58-0629-4A46-8711-902C16A9931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2613" y="5689600"/>
            <a:ext cx="3475037" cy="579438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231301F-62BD-4CF6-8990-CDF00AFC8CC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582612" y="2025650"/>
            <a:ext cx="3474720" cy="3474720"/>
          </a:xfrm>
          <a:blipFill>
            <a:blip r:embed="rId2"/>
            <a:stretch>
              <a:fillRect/>
            </a:stretch>
          </a:blipFill>
        </p:spPr>
        <p:txBody>
          <a:bodyPr lIns="0" tIns="0" rIns="0" bIns="100584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8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7E8A9C08-F392-459F-B90B-EDBF4A830C5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58640" y="5689600"/>
            <a:ext cx="3475037" cy="579438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E401A97-B3D4-43E4-9B09-8AD4B6B2606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ltGray">
          <a:xfrm>
            <a:off x="4358640" y="2025650"/>
            <a:ext cx="3474720" cy="3474720"/>
          </a:xfrm>
          <a:blipFill>
            <a:blip r:embed="rId3"/>
            <a:stretch>
              <a:fillRect/>
            </a:stretch>
          </a:blipFill>
        </p:spPr>
        <p:txBody>
          <a:bodyPr lIns="0" tIns="0" rIns="0" bIns="100584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8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05B401B2-8D93-427E-90A4-52337B3965E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4351" y="5689600"/>
            <a:ext cx="3475037" cy="579438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223C820-5673-4288-A9D6-185A95066B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ltGray">
          <a:xfrm>
            <a:off x="8132063" y="2025650"/>
            <a:ext cx="3474720" cy="3474720"/>
          </a:xfrm>
          <a:blipFill>
            <a:blip r:embed="rId4"/>
            <a:stretch>
              <a:fillRect/>
            </a:stretch>
          </a:blipFill>
        </p:spPr>
        <p:txBody>
          <a:bodyPr lIns="0" tIns="0" rIns="0" bIns="100584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8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2B36921-D927-4BA6-8891-8AEE978492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 dirty="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408575308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3584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2557">
          <p15:clr>
            <a:srgbClr val="5ACBF0"/>
          </p15:clr>
        </p15:guide>
        <p15:guide id="7" pos="2744">
          <p15:clr>
            <a:srgbClr val="5ACBF0"/>
          </p15:clr>
        </p15:guide>
        <p15:guide id="8" pos="4936">
          <p15:clr>
            <a:srgbClr val="5ACBF0"/>
          </p15:clr>
        </p15:guide>
        <p15:guide id="9" pos="5123">
          <p15:clr>
            <a:srgbClr val="5ACBF0"/>
          </p15:clr>
        </p15:guide>
        <p15:guide id="10" orient="horz" pos="3465">
          <p15:clr>
            <a:srgbClr val="5ACBF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pictur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7A434B7-D4B9-4D45-A31C-F0CC4D2279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98323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833B58-0629-4A46-8711-902C16A9931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2613" y="4753938"/>
            <a:ext cx="2532888" cy="151510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231301F-62BD-4CF6-8990-CDF00AFC8CC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582612" y="2025650"/>
            <a:ext cx="2532888" cy="2532888"/>
          </a:xfrm>
          <a:blipFill>
            <a:blip r:embed="rId2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7E8A9C08-F392-459F-B90B-EDBF4A830C5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13908" y="4753938"/>
            <a:ext cx="2532888" cy="151510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E401A97-B3D4-43E4-9B09-8AD4B6B2606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ltGray">
          <a:xfrm>
            <a:off x="3413908" y="2025650"/>
            <a:ext cx="2532888" cy="2532888"/>
          </a:xfrm>
          <a:blipFill>
            <a:blip r:embed="rId3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05B401B2-8D93-427E-90A4-52337B3965E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5204" y="4753938"/>
            <a:ext cx="2532888" cy="151510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223C820-5673-4288-A9D6-185A95066B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ltGray">
          <a:xfrm>
            <a:off x="6245204" y="2025650"/>
            <a:ext cx="2532888" cy="2532888"/>
          </a:xfrm>
          <a:blipFill>
            <a:blip r:embed="rId4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38E883C1-8203-4549-AF30-B96AEC45AC6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076500" y="4753938"/>
            <a:ext cx="2532888" cy="151510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BBD58C33-921C-42F1-9803-1C798DB548C2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ltGray">
          <a:xfrm>
            <a:off x="9073895" y="2025650"/>
            <a:ext cx="2532888" cy="2532888"/>
          </a:xfrm>
          <a:blipFill>
            <a:blip r:embed="rId5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CF56B00-AAD4-4F4F-8228-B6CF8367DE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 dirty="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224328969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2993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1963">
          <p15:clr>
            <a:srgbClr val="5ACBF0"/>
          </p15:clr>
        </p15:guide>
        <p15:guide id="7" pos="2150">
          <p15:clr>
            <a:srgbClr val="5ACBF0"/>
          </p15:clr>
        </p15:guide>
        <p15:guide id="8" pos="3746">
          <p15:clr>
            <a:srgbClr val="5ACBF0"/>
          </p15:clr>
        </p15:guide>
        <p15:guide id="9" pos="3934">
          <p15:clr>
            <a:srgbClr val="5ACBF0"/>
          </p15:clr>
        </p15:guide>
        <p15:guide id="10" pos="5530">
          <p15:clr>
            <a:srgbClr val="5ACBF0"/>
          </p15:clr>
        </p15:guide>
        <p15:guide id="11" pos="5716">
          <p15:clr>
            <a:srgbClr val="5ACBF0"/>
          </p15:clr>
        </p15:guide>
        <p15:guide id="12" orient="horz" pos="2870">
          <p15:clr>
            <a:srgbClr val="5ACBF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filmstrip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C46CB2-4FDC-43D5-B122-6F27B3C827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5788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244E618-D996-41A6-8C9D-0C3519EA7A6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5216" y="5334000"/>
            <a:ext cx="4892040" cy="935037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8B32544F-F93C-4713-86AD-641424F4A7B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0" y="2286000"/>
            <a:ext cx="6062472" cy="2807208"/>
          </a:xfrm>
          <a:blipFill>
            <a:blip r:embed="rId2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8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E4C32BD-CEF7-42AC-94D8-052EF30E23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14744" y="5334000"/>
            <a:ext cx="4892040" cy="938212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25EC377-3BC6-40D8-AECB-4FEB302014C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ltGray">
          <a:xfrm>
            <a:off x="6129528" y="2286000"/>
            <a:ext cx="6062472" cy="2807208"/>
          </a:xfrm>
          <a:blipFill>
            <a:blip r:embed="rId3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8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AAE597A-BE1E-6B1F-960D-A90DC95443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 dirty="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138914378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1440">
          <p15:clr>
            <a:srgbClr val="5ACBF0"/>
          </p15:clr>
        </p15:guide>
        <p15:guide id="4" orient="horz" pos="3209">
          <p15:clr>
            <a:srgbClr val="5ACBF0"/>
          </p15:clr>
        </p15:guide>
        <p15:guide id="5" pos="3826">
          <p15:clr>
            <a:srgbClr val="5ACBF0"/>
          </p15:clr>
        </p15:guide>
        <p15:guide id="6" pos="3859">
          <p15:clr>
            <a:srgbClr val="5ACBF0"/>
          </p15:clr>
        </p15:guide>
        <p15:guide id="11" pos="1910">
          <p15:clr>
            <a:srgbClr val="5ACBF0"/>
          </p15:clr>
        </p15:guide>
        <p15:guide id="12" pos="5770">
          <p15:clr>
            <a:srgbClr val="5ACBF0"/>
          </p15:clr>
        </p15:guide>
        <p15:guide id="13" orient="horz" pos="3360">
          <p15:clr>
            <a:srgbClr val="5ACBF0"/>
          </p15:clr>
        </p15:guide>
        <p15:guide id="14" orient="horz">
          <p15:clr>
            <a:srgbClr val="5ACBF0"/>
          </p15:clr>
        </p15:guide>
        <p15:guide id="15" pos="3451">
          <p15:clr>
            <a:srgbClr val="5ACBF0"/>
          </p15:clr>
        </p15:guide>
        <p15:guide id="16" pos="4229">
          <p15:clr>
            <a:srgbClr val="5ACBF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filmstrip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C46CB2-4FDC-43D5-B122-6F27B3C827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5787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244E618-D996-41A6-8C9D-0C3519EA7A6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5216" y="4800600"/>
            <a:ext cx="2852928" cy="1468437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8B32544F-F93C-4713-86AD-641424F4A7B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0" y="2286000"/>
            <a:ext cx="4023360" cy="2286000"/>
          </a:xfrm>
          <a:blipFill>
            <a:blip r:embed="rId2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E4C32BD-CEF7-42AC-94D8-052EF30E23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669536" y="4799409"/>
            <a:ext cx="2852928" cy="1472803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25EC377-3BC6-40D8-AECB-4FEB302014C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ltGray">
          <a:xfrm>
            <a:off x="4084320" y="2286000"/>
            <a:ext cx="4023360" cy="2286000"/>
          </a:xfrm>
          <a:blipFill>
            <a:blip r:embed="rId3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D682B8EC-8F33-4730-BBE6-E8B7234C9C6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753856" y="4799410"/>
            <a:ext cx="2852928" cy="146962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DB5F15A-5980-40FF-9D54-3FDE41D604A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ltGray">
          <a:xfrm>
            <a:off x="8168640" y="2286000"/>
            <a:ext cx="4023360" cy="2286000"/>
          </a:xfrm>
          <a:blipFill>
            <a:blip r:embed="rId4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2B999C7-F5A8-46A6-92C5-AA3BE4E269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 dirty="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292781678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1440">
          <p15:clr>
            <a:srgbClr val="5ACBF0"/>
          </p15:clr>
        </p15:guide>
        <p15:guide id="3" orient="horz" pos="2880">
          <p15:clr>
            <a:srgbClr val="5ACBF0"/>
          </p15:clr>
        </p15:guide>
        <p15:guide id="4" orient="horz" pos="3024">
          <p15:clr>
            <a:srgbClr val="5ACBF0"/>
          </p15:clr>
        </p15:guide>
        <p15:guide id="5" pos="2534">
          <p15:clr>
            <a:srgbClr val="5ACBF0"/>
          </p15:clr>
        </p15:guide>
        <p15:guide id="6" pos="2573">
          <p15:clr>
            <a:srgbClr val="5ACBF0"/>
          </p15:clr>
        </p15:guide>
        <p15:guide id="8" pos="5109">
          <p15:clr>
            <a:srgbClr val="5ACBF0"/>
          </p15:clr>
        </p15:guide>
        <p15:guide id="9" pos="5145">
          <p15:clr>
            <a:srgbClr val="5ACBF0"/>
          </p15:clr>
        </p15:guide>
        <p15:guide id="11" pos="1266">
          <p15:clr>
            <a:srgbClr val="5ACBF0"/>
          </p15:clr>
        </p15:guide>
        <p15:guide id="12" pos="3840">
          <p15:clr>
            <a:srgbClr val="5ACBF0"/>
          </p15:clr>
        </p15:guide>
        <p15:guide id="13" pos="6414">
          <p15:clr>
            <a:srgbClr val="5ACBF0"/>
          </p15:clr>
        </p15:guide>
        <p15:guide id="14" orient="horz" pos="1074">
          <p15:clr>
            <a:srgbClr val="5ACBF0"/>
          </p15:clr>
        </p15:guide>
        <p15:guide id="15" pos="2168">
          <p15:clr>
            <a:srgbClr val="5ACBF0"/>
          </p15:clr>
        </p15:guide>
        <p15:guide id="16" pos="2944">
          <p15:clr>
            <a:srgbClr val="5ACBF0"/>
          </p15:clr>
        </p15:guide>
        <p15:guide id="17" pos="4738">
          <p15:clr>
            <a:srgbClr val="5ACBF0"/>
          </p15:clr>
        </p15:guide>
        <p15:guide id="18" pos="5514">
          <p15:clr>
            <a:srgbClr val="5ACBF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filmstrip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C46CB2-4FDC-43D5-B122-6F27B3C827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5788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244E618-D996-41A6-8C9D-0C3519EA7A6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5216" y="4800600"/>
            <a:ext cx="1828800" cy="1468437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8B32544F-F93C-4713-86AD-641424F4A7B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0" y="2286000"/>
            <a:ext cx="2999232" cy="2286000"/>
          </a:xfrm>
          <a:blipFill>
            <a:blip r:embed="rId2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E4C32BD-CEF7-42AC-94D8-052EF30E23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49472" y="4799409"/>
            <a:ext cx="1828800" cy="1472803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25EC377-3BC6-40D8-AECB-4FEB302014C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ltGray">
          <a:xfrm>
            <a:off x="3064256" y="2286000"/>
            <a:ext cx="2999232" cy="2286000"/>
          </a:xfrm>
          <a:blipFill>
            <a:blip r:embed="rId3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D682B8EC-8F33-4730-BBE6-E8B7234C9C6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713728" y="4799410"/>
            <a:ext cx="1828800" cy="146962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DB5F15A-5980-40FF-9D54-3FDE41D604A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ltGray">
          <a:xfrm>
            <a:off x="6128512" y="2286000"/>
            <a:ext cx="2999232" cy="2286000"/>
          </a:xfrm>
          <a:blipFill>
            <a:blip r:embed="rId4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83564109-638C-44E2-AE84-46B44C29FD6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777984" y="4799409"/>
            <a:ext cx="1828800" cy="1469629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13AAE36-2045-4D14-87DC-59D4EFCC1500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ltGray">
          <a:xfrm>
            <a:off x="9192768" y="2286000"/>
            <a:ext cx="2999232" cy="2286000"/>
          </a:xfrm>
          <a:blipFill>
            <a:blip r:embed="rId5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2FE569B-F817-467C-8BAC-558CE9824D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 dirty="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58226597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1440">
          <p15:clr>
            <a:srgbClr val="5ACBF0"/>
          </p15:clr>
        </p15:guide>
        <p15:guide id="3" orient="horz" pos="2880">
          <p15:clr>
            <a:srgbClr val="5ACBF0"/>
          </p15:clr>
        </p15:guide>
        <p15:guide id="4" orient="horz" pos="3024">
          <p15:clr>
            <a:srgbClr val="5ACBF0"/>
          </p15:clr>
        </p15:guide>
        <p15:guide id="5" pos="1890">
          <p15:clr>
            <a:srgbClr val="5ACBF0"/>
          </p15:clr>
        </p15:guide>
        <p15:guide id="6" pos="1930">
          <p15:clr>
            <a:srgbClr val="5ACBF0"/>
          </p15:clr>
        </p15:guide>
        <p15:guide id="7" pos="5749">
          <p15:clr>
            <a:srgbClr val="5ACBF0"/>
          </p15:clr>
        </p15:guide>
        <p15:guide id="8" pos="3820">
          <p15:clr>
            <a:srgbClr val="5ACBF0"/>
          </p15:clr>
        </p15:guide>
        <p15:guide id="9" pos="3860">
          <p15:clr>
            <a:srgbClr val="5ACBF0"/>
          </p15:clr>
        </p15:guide>
        <p15:guide id="10" pos="5789">
          <p15:clr>
            <a:srgbClr val="5ACBF0"/>
          </p15:clr>
        </p15:guide>
        <p15:guide id="11" pos="944">
          <p15:clr>
            <a:srgbClr val="5ACBF0"/>
          </p15:clr>
        </p15:guide>
        <p15:guide id="12" pos="2876">
          <p15:clr>
            <a:srgbClr val="5ACBF0"/>
          </p15:clr>
        </p15:guide>
        <p15:guide id="13" pos="4807">
          <p15:clr>
            <a:srgbClr val="5ACBF0"/>
          </p15:clr>
        </p15:guide>
        <p15:guide id="14" pos="6736">
          <p15:clr>
            <a:srgbClr val="5ACBF0"/>
          </p15:clr>
        </p15:guide>
        <p15:guide id="15" orient="horz">
          <p15:clr>
            <a:srgbClr val="5ACBF0"/>
          </p15:clr>
        </p15:guide>
        <p15:guide id="16" pos="1524">
          <p15:clr>
            <a:srgbClr val="5ACBF0"/>
          </p15:clr>
        </p15:guide>
        <p15:guide id="17" pos="2298">
          <p15:clr>
            <a:srgbClr val="5ACBF0"/>
          </p15:clr>
        </p15:guide>
        <p15:guide id="18" pos="3450">
          <p15:clr>
            <a:srgbClr val="5ACBF0"/>
          </p15:clr>
        </p15:guide>
        <p15:guide id="19" pos="4230">
          <p15:clr>
            <a:srgbClr val="5ACBF0"/>
          </p15:clr>
        </p15:guide>
        <p15:guide id="20" pos="5380">
          <p15:clr>
            <a:srgbClr val="5ACBF0"/>
          </p15:clr>
        </p15:guide>
        <p15:guide id="21" pos="6156">
          <p15:clr>
            <a:srgbClr val="5ACBF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ve filmstrip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C46CB2-4FDC-43D5-B122-6F27B3C827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5788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244E618-D996-41A6-8C9D-0C3519EA7A6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92608" y="4800600"/>
            <a:ext cx="1801368" cy="1468437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8B32544F-F93C-4713-86AD-641424F4A7B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0" y="2286000"/>
            <a:ext cx="2386584" cy="2286000"/>
          </a:xfrm>
          <a:blipFill>
            <a:blip r:embed="rId2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E4C32BD-CEF7-42AC-94D8-052EF30E23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743962" y="4799409"/>
            <a:ext cx="1801368" cy="1472803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25EC377-3BC6-40D8-AECB-4FEB302014C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ltGray">
          <a:xfrm>
            <a:off x="2451354" y="2286000"/>
            <a:ext cx="2386584" cy="2286000"/>
          </a:xfrm>
          <a:blipFill>
            <a:blip r:embed="rId3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D682B8EC-8F33-4730-BBE6-E8B7234C9C6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195316" y="4799410"/>
            <a:ext cx="1801368" cy="146962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DB5F15A-5980-40FF-9D54-3FDE41D604A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ltGray">
          <a:xfrm>
            <a:off x="4902708" y="2286000"/>
            <a:ext cx="2386584" cy="2286000"/>
          </a:xfrm>
          <a:blipFill>
            <a:blip r:embed="rId4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83564109-638C-44E2-AE84-46B44C29FD6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646670" y="4799409"/>
            <a:ext cx="1801368" cy="1469629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13AAE36-2045-4D14-87DC-59D4EFCC1500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ltGray">
          <a:xfrm>
            <a:off x="7354062" y="2286000"/>
            <a:ext cx="2386584" cy="2286000"/>
          </a:xfrm>
          <a:blipFill>
            <a:blip r:embed="rId5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5B1B6F72-F14C-40F1-8B29-8620AA34DC6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0098024" y="4799409"/>
            <a:ext cx="1801368" cy="1469629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2AD682C7-20D7-4ED0-99A7-C8530DAC8612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ltGray">
          <a:xfrm>
            <a:off x="9805416" y="2286000"/>
            <a:ext cx="2386584" cy="2286000"/>
          </a:xfrm>
          <a:blipFill>
            <a:blip r:embed="rId6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2FE569B-F817-467C-8BAC-558CE9824D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 dirty="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280260268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1440">
          <p15:clr>
            <a:srgbClr val="5ACBF0"/>
          </p15:clr>
        </p15:guide>
        <p15:guide id="3" orient="horz" pos="2880">
          <p15:clr>
            <a:srgbClr val="5ACBF0"/>
          </p15:clr>
        </p15:guide>
        <p15:guide id="4" orient="horz" pos="3024">
          <p15:clr>
            <a:srgbClr val="5ACBF0"/>
          </p15:clr>
        </p15:guide>
        <p15:guide id="8" pos="4631">
          <p15:clr>
            <a:srgbClr val="5ACBF0"/>
          </p15:clr>
        </p15:guide>
        <p15:guide id="9" pos="4593">
          <p15:clr>
            <a:srgbClr val="5ACBF0"/>
          </p15:clr>
        </p15:guide>
        <p15:guide id="10" pos="6134">
          <p15:clr>
            <a:srgbClr val="5ACBF0"/>
          </p15:clr>
        </p15:guide>
        <p15:guide id="11" pos="1323">
          <p15:clr>
            <a:srgbClr val="5ACBF0"/>
          </p15:clr>
        </p15:guide>
        <p15:guide id="12" pos="2865">
          <p15:clr>
            <a:srgbClr val="5ACBF0"/>
          </p15:clr>
        </p15:guide>
        <p15:guide id="13" pos="4815">
          <p15:clr>
            <a:srgbClr val="5ACBF0"/>
          </p15:clr>
        </p15:guide>
        <p15:guide id="14" pos="6361">
          <p15:clr>
            <a:srgbClr val="5ACBF0"/>
          </p15:clr>
        </p15:guide>
        <p15:guide id="15" orient="horz">
          <p15:clr>
            <a:srgbClr val="5ACBF0"/>
          </p15:clr>
        </p15:guide>
        <p15:guide id="16" pos="1727">
          <p15:clr>
            <a:srgbClr val="5ACBF0"/>
          </p15:clr>
        </p15:guide>
        <p15:guide id="17" pos="2294">
          <p15:clr>
            <a:srgbClr val="5ACBF0"/>
          </p15:clr>
        </p15:guide>
        <p15:guide id="18" pos="3273">
          <p15:clr>
            <a:srgbClr val="5ACBF0"/>
          </p15:clr>
        </p15:guide>
        <p15:guide id="19" pos="4411">
          <p15:clr>
            <a:srgbClr val="5ACBF0"/>
          </p15:clr>
        </p15:guide>
        <p15:guide id="21" pos="6179">
          <p15:clr>
            <a:srgbClr val="5ACBF0"/>
          </p15:clr>
        </p15:guide>
        <p15:guide id="22" pos="1501">
          <p15:clr>
            <a:srgbClr val="5ACBF0"/>
          </p15:clr>
        </p15:guide>
        <p15:guide id="23" pos="1543">
          <p15:clr>
            <a:srgbClr val="5ACBF0"/>
          </p15:clr>
        </p15:guide>
        <p15:guide id="24" pos="3049">
          <p15:clr>
            <a:srgbClr val="5ACBF0"/>
          </p15:clr>
        </p15:guide>
        <p15:guide id="25" pos="3088">
          <p15:clr>
            <a:srgbClr val="5ACBF0"/>
          </p15:clr>
        </p15:guide>
        <p15:guide id="26" pos="5954">
          <p15:clr>
            <a:srgbClr val="5ACBF0"/>
          </p15:clr>
        </p15:guide>
        <p15:guide id="27" pos="3840">
          <p15:clr>
            <a:srgbClr val="5ACBF0"/>
          </p15:clr>
        </p15:guide>
        <p15:guide id="28" pos="5386">
          <p15:clr>
            <a:srgbClr val="5ACBF0"/>
          </p15:clr>
        </p15:guide>
        <p15:guide id="29" pos="753">
          <p15:clr>
            <a:srgbClr val="5ACBF0"/>
          </p15:clr>
        </p15:guide>
        <p15:guide id="30" pos="6927">
          <p15:clr>
            <a:srgbClr val="5ACBF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round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33D211-079C-4884-AB74-BFA812A63F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8962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5757E314-6417-4051-A2CD-D3614CAA6A78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ltGray">
          <a:xfrm>
            <a:off x="2037906" y="2286000"/>
            <a:ext cx="2313432" cy="2313432"/>
          </a:xfrm>
          <a:prstGeom prst="ellipse">
            <a:avLst/>
          </a:prstGeom>
          <a:blipFill>
            <a:blip r:embed="rId2"/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</a:t>
            </a:r>
            <a:br>
              <a:rPr lang="en-US" dirty="0"/>
            </a:br>
            <a:r>
              <a:rPr lang="en-US" dirty="0"/>
              <a:t>here or click or tap icon </a:t>
            </a:r>
            <a:br>
              <a:rPr lang="en-US" dirty="0"/>
            </a:br>
            <a:r>
              <a:rPr lang="en-US" dirty="0"/>
              <a:t>below to inser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5BBECFAF-80A0-4620-8865-87562DFB497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037906" y="4800600"/>
            <a:ext cx="2313432" cy="146843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5577FC3-49F5-4B04-AFD3-AA0A57BA8355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 bwMode="ltGray">
          <a:xfrm>
            <a:off x="4939284" y="2286000"/>
            <a:ext cx="2313432" cy="2313432"/>
          </a:xfrm>
          <a:prstGeom prst="ellipse">
            <a:avLst/>
          </a:prstGeom>
          <a:blipFill>
            <a:blip r:embed="rId3"/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</a:t>
            </a:r>
            <a:br>
              <a:rPr lang="en-US" dirty="0"/>
            </a:br>
            <a:r>
              <a:rPr lang="en-US" dirty="0"/>
              <a:t>here or click or tap icon </a:t>
            </a:r>
            <a:br>
              <a:rPr lang="en-US" dirty="0"/>
            </a:br>
            <a:r>
              <a:rPr lang="en-US" dirty="0"/>
              <a:t>below 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8AD287B4-D736-4707-854D-BEA62EF2BB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939284" y="4800600"/>
            <a:ext cx="2313432" cy="146843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9B56ECFD-6AA2-4EC5-A445-D1E0952199EC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 bwMode="ltGray">
          <a:xfrm>
            <a:off x="7840663" y="2286000"/>
            <a:ext cx="2313432" cy="2313432"/>
          </a:xfrm>
          <a:prstGeom prst="ellipse">
            <a:avLst/>
          </a:prstGeom>
          <a:blipFill>
            <a:blip r:embed="rId4"/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</a:t>
            </a:r>
            <a:br>
              <a:rPr lang="en-US" dirty="0"/>
            </a:br>
            <a:r>
              <a:rPr lang="en-US" dirty="0"/>
              <a:t>here or click or tap icon </a:t>
            </a:r>
            <a:br>
              <a:rPr lang="en-US" dirty="0"/>
            </a:br>
            <a:r>
              <a:rPr lang="en-US" dirty="0"/>
              <a:t>below to insert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ED5A27F-D9D2-4DCB-8422-4694477ECA8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840663" y="4800600"/>
            <a:ext cx="2313432" cy="146843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D6AFB7A-35B4-4881-AB50-D112482166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 dirty="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105425021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3024">
          <p15:clr>
            <a:srgbClr val="5ACBF0"/>
          </p15:clr>
        </p15:guide>
        <p15:guide id="3" pos="3840">
          <p15:clr>
            <a:srgbClr val="5ACBF0"/>
          </p15:clr>
        </p15:guide>
        <p15:guide id="4" pos="1283">
          <p15:clr>
            <a:srgbClr val="5ACBF0"/>
          </p15:clr>
        </p15:guide>
        <p15:guide id="5" pos="5666">
          <p15:clr>
            <a:srgbClr val="5ACBF0"/>
          </p15:clr>
        </p15:guide>
        <p15:guide id="6" pos="2741">
          <p15:clr>
            <a:srgbClr val="5ACBF0"/>
          </p15:clr>
        </p15:guide>
        <p15:guide id="7" pos="2012">
          <p15:clr>
            <a:srgbClr val="5ACBF0"/>
          </p15:clr>
        </p15:guide>
        <p15:guide id="8" pos="3109">
          <p15:clr>
            <a:srgbClr val="5ACBF0"/>
          </p15:clr>
        </p15:guide>
        <p15:guide id="9" pos="4570">
          <p15:clr>
            <a:srgbClr val="5ACBF0"/>
          </p15:clr>
        </p15:guide>
        <p15:guide id="11" pos="6397">
          <p15:clr>
            <a:srgbClr val="5ACBF0"/>
          </p15:clr>
        </p15:guide>
        <p15:guide id="12" orient="horz" pos="1440">
          <p15:clr>
            <a:srgbClr val="5ACBF0"/>
          </p15:clr>
        </p15:guide>
        <p15:guide id="13" pos="4938">
          <p15:clr>
            <a:srgbClr val="5ACBF0"/>
          </p15:clr>
        </p15:guide>
        <p15:guide id="14" orient="horz" pos="2894">
          <p15:clr>
            <a:srgbClr val="5ACBF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round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33D211-079C-4884-AB74-BFA812A63F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3007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5757E314-6417-4051-A2CD-D3614CAA6A78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ltGray">
          <a:xfrm>
            <a:off x="584200" y="2286000"/>
            <a:ext cx="2313432" cy="2313432"/>
          </a:xfrm>
          <a:prstGeom prst="ellipse">
            <a:avLst/>
          </a:prstGeom>
          <a:blipFill>
            <a:blip r:embed="rId2"/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</a:t>
            </a:r>
            <a:br>
              <a:rPr lang="en-US" dirty="0"/>
            </a:br>
            <a:r>
              <a:rPr lang="en-US" dirty="0"/>
              <a:t>here or click or tap icon </a:t>
            </a:r>
            <a:br>
              <a:rPr lang="en-US" dirty="0"/>
            </a:br>
            <a:r>
              <a:rPr lang="en-US" dirty="0"/>
              <a:t>below to inser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5BBECFAF-80A0-4620-8865-87562DFB497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4800600"/>
            <a:ext cx="2313432" cy="146843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5577FC3-49F5-4B04-AFD3-AA0A57BA8355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 bwMode="ltGray">
          <a:xfrm>
            <a:off x="3487250" y="2286000"/>
            <a:ext cx="2313432" cy="2313432"/>
          </a:xfrm>
          <a:prstGeom prst="ellipse">
            <a:avLst/>
          </a:prstGeom>
          <a:blipFill>
            <a:blip r:embed="rId3"/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</a:t>
            </a:r>
            <a:br>
              <a:rPr lang="en-US" dirty="0"/>
            </a:br>
            <a:r>
              <a:rPr lang="en-US" dirty="0"/>
              <a:t>here or click or tap icon </a:t>
            </a:r>
            <a:br>
              <a:rPr lang="en-US" dirty="0"/>
            </a:br>
            <a:r>
              <a:rPr lang="en-US" dirty="0"/>
              <a:t>below 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8AD287B4-D736-4707-854D-BEA62EF2BB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87250" y="4800600"/>
            <a:ext cx="2313432" cy="146843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9B56ECFD-6AA2-4EC5-A445-D1E0952199EC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 bwMode="ltGray">
          <a:xfrm>
            <a:off x="6390300" y="2286000"/>
            <a:ext cx="2313432" cy="2313432"/>
          </a:xfrm>
          <a:prstGeom prst="ellipse">
            <a:avLst/>
          </a:prstGeom>
          <a:blipFill>
            <a:blip r:embed="rId4"/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</a:t>
            </a:r>
            <a:br>
              <a:rPr lang="en-US" dirty="0"/>
            </a:br>
            <a:r>
              <a:rPr lang="en-US" dirty="0"/>
              <a:t>here or click or tap icon </a:t>
            </a:r>
            <a:br>
              <a:rPr lang="en-US" dirty="0"/>
            </a:br>
            <a:r>
              <a:rPr lang="en-US" dirty="0"/>
              <a:t>below to insert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ED5A27F-D9D2-4DCB-8422-4694477ECA8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0300" y="4800600"/>
            <a:ext cx="2313432" cy="146843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78E1D3B-7D6F-4EFD-9EB2-E1A27309D6AF}"/>
              </a:ext>
            </a:extLst>
          </p:cNvPr>
          <p:cNvSpPr>
            <a:spLocks noGrp="1" noChangeAspect="1"/>
          </p:cNvSpPr>
          <p:nvPr>
            <p:ph type="pic" sz="quarter" idx="21" hasCustomPrompt="1"/>
          </p:nvPr>
        </p:nvSpPr>
        <p:spPr bwMode="ltGray">
          <a:xfrm>
            <a:off x="9293351" y="2286000"/>
            <a:ext cx="2313432" cy="2313432"/>
          </a:xfrm>
          <a:prstGeom prst="ellipse">
            <a:avLst/>
          </a:prstGeom>
          <a:blipFill>
            <a:blip r:embed="rId5"/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</a:t>
            </a:r>
            <a:br>
              <a:rPr lang="en-US" dirty="0"/>
            </a:br>
            <a:r>
              <a:rPr lang="en-US" dirty="0"/>
              <a:t>here or click or tap icon </a:t>
            </a:r>
            <a:br>
              <a:rPr lang="en-US" dirty="0"/>
            </a:br>
            <a:r>
              <a:rPr lang="en-US" dirty="0"/>
              <a:t>below to insert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BB2FF62-05DC-462E-808C-4DDE1C65392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293351" y="4800600"/>
            <a:ext cx="2313432" cy="146843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7A72D6D-004C-4F57-AD34-F1019A7560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 dirty="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95749388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3024">
          <p15:clr>
            <a:srgbClr val="5ACBF0"/>
          </p15:clr>
        </p15:guide>
        <p15:guide id="3" pos="4025">
          <p15:clr>
            <a:srgbClr val="5ACBF0"/>
          </p15:clr>
        </p15:guide>
        <p15:guide id="5" pos="5854">
          <p15:clr>
            <a:srgbClr val="5ACBF0"/>
          </p15:clr>
        </p15:guide>
        <p15:guide id="7" pos="3654">
          <p15:clr>
            <a:srgbClr val="5ACBF0"/>
          </p15:clr>
        </p15:guide>
        <p15:guide id="8" pos="2195">
          <p15:clr>
            <a:srgbClr val="5ACBF0"/>
          </p15:clr>
        </p15:guide>
        <p15:guide id="10" pos="2926">
          <p15:clr>
            <a:srgbClr val="5ACBF0"/>
          </p15:clr>
        </p15:guide>
        <p15:guide id="11" pos="4756">
          <p15:clr>
            <a:srgbClr val="5ACBF0"/>
          </p15:clr>
        </p15:guide>
        <p15:guide id="12" pos="6581">
          <p15:clr>
            <a:srgbClr val="5ACBF0"/>
          </p15:clr>
        </p15:guide>
        <p15:guide id="13" pos="1097">
          <p15:clr>
            <a:srgbClr val="5ACBF0"/>
          </p15:clr>
        </p15:guide>
        <p15:guide id="14" orient="horz" pos="1440">
          <p15:clr>
            <a:srgbClr val="5ACBF0"/>
          </p15:clr>
        </p15:guide>
        <p15:guide id="15" pos="1826">
          <p15:clr>
            <a:srgbClr val="5ACBF0"/>
          </p15:clr>
        </p15:guide>
        <p15:guide id="18" pos="5483">
          <p15:clr>
            <a:srgbClr val="5ACBF0"/>
          </p15:clr>
        </p15:guide>
        <p15:guide id="19" orient="horz" pos="2898">
          <p15:clr>
            <a:srgbClr val="5ACBF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ve round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33D211-079C-4884-AB74-BFA812A63F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3007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5757E314-6417-4051-A2CD-D3614CAA6A78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ltGray">
          <a:xfrm>
            <a:off x="584200" y="2286000"/>
            <a:ext cx="1737360" cy="1737360"/>
          </a:xfrm>
          <a:prstGeom prst="ellipse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5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</a:t>
            </a:r>
            <a:br>
              <a:rPr lang="en-US" dirty="0"/>
            </a:br>
            <a:r>
              <a:rPr lang="en-US" dirty="0"/>
              <a:t>here or click or tap icon </a:t>
            </a:r>
            <a:br>
              <a:rPr lang="en-US" dirty="0"/>
            </a:br>
            <a:r>
              <a:rPr lang="en-US" dirty="0"/>
              <a:t>below to inser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5BBECFAF-80A0-4620-8865-87562DFB497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4235450"/>
            <a:ext cx="1737360" cy="203358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5577FC3-49F5-4B04-AFD3-AA0A57BA8355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 bwMode="ltGray">
          <a:xfrm>
            <a:off x="2905506" y="2286000"/>
            <a:ext cx="1737360" cy="1737360"/>
          </a:xfrm>
          <a:prstGeom prst="ellipse">
            <a:avLst/>
          </a:prstGeom>
          <a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5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</a:t>
            </a:r>
            <a:br>
              <a:rPr lang="en-US" dirty="0"/>
            </a:br>
            <a:r>
              <a:rPr lang="en-US" dirty="0"/>
              <a:t>here or click or tap icon </a:t>
            </a:r>
            <a:br>
              <a:rPr lang="en-US" dirty="0"/>
            </a:br>
            <a:r>
              <a:rPr lang="en-US" dirty="0"/>
              <a:t>below 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8AD287B4-D736-4707-854D-BEA62EF2BB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905506" y="4235450"/>
            <a:ext cx="1737360" cy="203358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9B56ECFD-6AA2-4EC5-A445-D1E0952199EC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 bwMode="ltGray">
          <a:xfrm>
            <a:off x="5227320" y="2286000"/>
            <a:ext cx="1737360" cy="1737360"/>
          </a:xfrm>
          <a:prstGeom prst="ellipse">
            <a:avLst/>
          </a:prstGeom>
          <a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5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</a:t>
            </a:r>
            <a:br>
              <a:rPr lang="en-US" dirty="0"/>
            </a:br>
            <a:r>
              <a:rPr lang="en-US" dirty="0"/>
              <a:t>here or click or tap icon </a:t>
            </a:r>
            <a:br>
              <a:rPr lang="en-US" dirty="0"/>
            </a:br>
            <a:r>
              <a:rPr lang="en-US" dirty="0"/>
              <a:t>below to insert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ED5A27F-D9D2-4DCB-8422-4694477ECA8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227320" y="4235451"/>
            <a:ext cx="1737360" cy="203358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78E1D3B-7D6F-4EFD-9EB2-E1A27309D6AF}"/>
              </a:ext>
            </a:extLst>
          </p:cNvPr>
          <p:cNvSpPr>
            <a:spLocks noGrp="1" noChangeAspect="1"/>
          </p:cNvSpPr>
          <p:nvPr>
            <p:ph type="pic" sz="quarter" idx="21" hasCustomPrompt="1"/>
          </p:nvPr>
        </p:nvSpPr>
        <p:spPr bwMode="ltGray">
          <a:xfrm>
            <a:off x="7548118" y="2286000"/>
            <a:ext cx="1737360" cy="1737360"/>
          </a:xfrm>
          <a:prstGeom prst="ellipse">
            <a:avLst/>
          </a:prstGeo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5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</a:t>
            </a:r>
            <a:br>
              <a:rPr lang="en-US" dirty="0"/>
            </a:br>
            <a:r>
              <a:rPr lang="en-US" dirty="0"/>
              <a:t>here or click or tap icon </a:t>
            </a:r>
            <a:br>
              <a:rPr lang="en-US" dirty="0"/>
            </a:br>
            <a:r>
              <a:rPr lang="en-US" dirty="0"/>
              <a:t>below to insert44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BB2FF62-05DC-462E-808C-4DDE1C65392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548118" y="4235450"/>
            <a:ext cx="1737360" cy="203358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4DC3400-0B11-4EA0-9B8D-6FADE6964F37}"/>
              </a:ext>
            </a:extLst>
          </p:cNvPr>
          <p:cNvSpPr>
            <a:spLocks noGrp="1" noChangeAspect="1"/>
          </p:cNvSpPr>
          <p:nvPr>
            <p:ph type="pic" sz="quarter" idx="23" hasCustomPrompt="1"/>
          </p:nvPr>
        </p:nvSpPr>
        <p:spPr bwMode="ltGray">
          <a:xfrm>
            <a:off x="9869423" y="2286000"/>
            <a:ext cx="1737360" cy="1737360"/>
          </a:xfrm>
          <a:prstGeom prst="ellipse">
            <a:avLst/>
          </a:prstGeom>
          <a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5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</a:t>
            </a:r>
            <a:br>
              <a:rPr lang="en-US" dirty="0"/>
            </a:br>
            <a:r>
              <a:rPr lang="en-US" dirty="0"/>
              <a:t>here or click or tap icon </a:t>
            </a:r>
            <a:br>
              <a:rPr lang="en-US" dirty="0"/>
            </a:br>
            <a:r>
              <a:rPr lang="en-US" dirty="0"/>
              <a:t>below to insert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133C357E-ECC0-485F-9033-5D4DEC8774B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869423" y="4235450"/>
            <a:ext cx="1737360" cy="203358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7A72D6D-004C-4F57-AD34-F1019A7560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 dirty="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226752151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2664">
          <p15:clr>
            <a:srgbClr val="5ACBF0"/>
          </p15:clr>
        </p15:guide>
        <p15:guide id="3" pos="6216">
          <p15:clr>
            <a:srgbClr val="5ACBF0"/>
          </p15:clr>
        </p15:guide>
        <p15:guide id="5" pos="5850">
          <p15:clr>
            <a:srgbClr val="5ACBF0"/>
          </p15:clr>
        </p15:guide>
        <p15:guide id="7" pos="4392">
          <p15:clr>
            <a:srgbClr val="5ACBF0"/>
          </p15:clr>
        </p15:guide>
        <p15:guide id="8" pos="3292">
          <p15:clr>
            <a:srgbClr val="5ACBF0"/>
          </p15:clr>
        </p15:guide>
        <p15:guide id="10" pos="2926">
          <p15:clr>
            <a:srgbClr val="5ACBF0"/>
          </p15:clr>
        </p15:guide>
        <p15:guide id="11" pos="4754">
          <p15:clr>
            <a:srgbClr val="5ACBF0"/>
          </p15:clr>
        </p15:guide>
        <p15:guide id="13" pos="1464">
          <p15:clr>
            <a:srgbClr val="5ACBF0"/>
          </p15:clr>
        </p15:guide>
        <p15:guide id="14" orient="horz" pos="1440">
          <p15:clr>
            <a:srgbClr val="5ACBF0"/>
          </p15:clr>
        </p15:guide>
        <p15:guide id="15" pos="1830">
          <p15:clr>
            <a:srgbClr val="5ACBF0"/>
          </p15:clr>
        </p15:guide>
        <p15:guide id="16" orient="horz" pos="2533">
          <p15:clr>
            <a:srgbClr val="5ACBF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 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E5C076-3B78-4451-8068-576892A08E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5216" y="2309812"/>
            <a:ext cx="3182027" cy="3959225"/>
          </a:xfrm>
        </p:spPr>
        <p:txBody>
          <a:bodyPr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7E9DBFD9-3E1E-4F19-AF15-56780F9C792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56100" y="2309812"/>
            <a:ext cx="7253288" cy="3959223"/>
          </a:xfrm>
        </p:spPr>
        <p:txBody>
          <a:bodyPr anchor="t"/>
          <a:lstStyle>
            <a:lvl1pPr marL="231775" indent="-231775">
              <a:spcAft>
                <a:spcPts val="600"/>
              </a:spcAft>
              <a:buFont typeface="Wingdings" panose="05000000000000000000" pitchFamily="2" charset="2"/>
              <a:buChar char=""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35867F2-3994-4092-B53B-5792FEE698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585216" y="2019300"/>
            <a:ext cx="3182112" cy="0"/>
          </a:xfrm>
          <a:prstGeom prst="line">
            <a:avLst/>
          </a:prstGeom>
          <a:ln w="28575">
            <a:solidFill>
              <a:schemeClr val="accent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49D8AF80-CAD5-4055-80AD-0B31EBCB52A9}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 dirty="0">
                <a:solidFill>
                  <a:srgbClr val="A3A3A3"/>
                </a:solidFill>
              </a:rPr>
              <a:t>ELT layout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F1A9F7D-F14E-4BCE-9EB4-D9EF47B678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354523" y="2019300"/>
            <a:ext cx="7254865" cy="0"/>
          </a:xfrm>
          <a:prstGeom prst="line">
            <a:avLst/>
          </a:prstGeom>
          <a:ln w="19050">
            <a:solidFill>
              <a:schemeClr val="tx1">
                <a:alpha val="30000"/>
              </a:schemeClr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246104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3" pos="2744">
          <p15:clr>
            <a:srgbClr val="5ACBF0"/>
          </p15:clr>
        </p15:guide>
        <p15:guide id="29" orient="horz" pos="1272">
          <p15:clr>
            <a:srgbClr val="5ACBF0"/>
          </p15:clr>
        </p15:guide>
        <p15:guide id="30" pos="2376">
          <p15:clr>
            <a:srgbClr val="5ACBF0"/>
          </p15:clr>
        </p15:guide>
        <p15:guide id="32" orient="horz" pos="1455">
          <p15:clr>
            <a:srgbClr val="5ACBF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50C1D3CF-F6AF-93EB-C40E-C278E58442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9574" y="2096892"/>
            <a:ext cx="5117162" cy="1325563"/>
          </a:xfrm>
        </p:spPr>
        <p:txBody>
          <a:bodyPr>
            <a:noAutofit/>
          </a:bodyPr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4" name="Content placeholder 47">
            <a:extLst>
              <a:ext uri="{FF2B5EF4-FFF2-40B4-BE49-F238E27FC236}">
                <a16:creationId xmlns:a16="http://schemas.microsoft.com/office/drawing/2014/main" id="{E61594E5-F661-407F-9B5E-62267D2E6AA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09574" y="3435546"/>
            <a:ext cx="4260180" cy="129453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500" b="0">
                <a:solidFill>
                  <a:schemeClr val="accent6"/>
                </a:solidFill>
                <a:latin typeface="+mn-lt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 Master text styles </a:t>
            </a:r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988BDF24-3B67-5B77-0D48-319FA7FD0F65}"/>
              </a:ext>
            </a:extLst>
          </p:cNvPr>
          <p:cNvSpPr>
            <a:spLocks noGrp="1"/>
          </p:cNvSpPr>
          <p:nvPr>
            <p:ph type="pic" sz="quarter" idx="51"/>
          </p:nvPr>
        </p:nvSpPr>
        <p:spPr>
          <a:xfrm>
            <a:off x="5745001" y="0"/>
            <a:ext cx="6446999" cy="6858000"/>
          </a:xfrm>
          <a:custGeom>
            <a:avLst/>
            <a:gdLst>
              <a:gd name="connsiteX0" fmla="*/ 2550369 w 6483642"/>
              <a:gd name="connsiteY0" fmla="*/ 0 h 6858000"/>
              <a:gd name="connsiteX1" fmla="*/ 4338592 w 6483642"/>
              <a:gd name="connsiteY1" fmla="*/ 0 h 6858000"/>
              <a:gd name="connsiteX2" fmla="*/ 6483642 w 6483642"/>
              <a:gd name="connsiteY2" fmla="*/ 1338386 h 6858000"/>
              <a:gd name="connsiteX3" fmla="*/ 6483642 w 6483642"/>
              <a:gd name="connsiteY3" fmla="*/ 5624376 h 6858000"/>
              <a:gd name="connsiteX4" fmla="*/ 4378767 w 6483642"/>
              <a:gd name="connsiteY4" fmla="*/ 6858000 h 6858000"/>
              <a:gd name="connsiteX5" fmla="*/ 2590564 w 6483642"/>
              <a:gd name="connsiteY5" fmla="*/ 6858000 h 6858000"/>
              <a:gd name="connsiteX6" fmla="*/ 133 w 6483642"/>
              <a:gd name="connsiteY6" fmla="*/ 5332429 h 6858000"/>
              <a:gd name="connsiteX7" fmla="*/ 20164 w 6483642"/>
              <a:gd name="connsiteY7" fmla="*/ 1404433 h 6858000"/>
              <a:gd name="connsiteX0" fmla="*/ 2530205 w 6463478"/>
              <a:gd name="connsiteY0" fmla="*/ 0 h 6858000"/>
              <a:gd name="connsiteX1" fmla="*/ 4318428 w 6463478"/>
              <a:gd name="connsiteY1" fmla="*/ 0 h 6858000"/>
              <a:gd name="connsiteX2" fmla="*/ 6463478 w 6463478"/>
              <a:gd name="connsiteY2" fmla="*/ 1338386 h 6858000"/>
              <a:gd name="connsiteX3" fmla="*/ 6463478 w 6463478"/>
              <a:gd name="connsiteY3" fmla="*/ 5624376 h 6858000"/>
              <a:gd name="connsiteX4" fmla="*/ 4358603 w 6463478"/>
              <a:gd name="connsiteY4" fmla="*/ 6858000 h 6858000"/>
              <a:gd name="connsiteX5" fmla="*/ 2570400 w 6463478"/>
              <a:gd name="connsiteY5" fmla="*/ 6858000 h 6858000"/>
              <a:gd name="connsiteX6" fmla="*/ 17140 w 6463478"/>
              <a:gd name="connsiteY6" fmla="*/ 5339864 h 6858000"/>
              <a:gd name="connsiteX7" fmla="*/ 0 w 6463478"/>
              <a:gd name="connsiteY7" fmla="*/ 1404433 h 6858000"/>
              <a:gd name="connsiteX8" fmla="*/ 2530205 w 6463478"/>
              <a:gd name="connsiteY8" fmla="*/ 0 h 6858000"/>
              <a:gd name="connsiteX0" fmla="*/ 2513726 w 6446999"/>
              <a:gd name="connsiteY0" fmla="*/ 0 h 6858000"/>
              <a:gd name="connsiteX1" fmla="*/ 4301949 w 6446999"/>
              <a:gd name="connsiteY1" fmla="*/ 0 h 6858000"/>
              <a:gd name="connsiteX2" fmla="*/ 6446999 w 6446999"/>
              <a:gd name="connsiteY2" fmla="*/ 1338386 h 6858000"/>
              <a:gd name="connsiteX3" fmla="*/ 6446999 w 6446999"/>
              <a:gd name="connsiteY3" fmla="*/ 5624376 h 6858000"/>
              <a:gd name="connsiteX4" fmla="*/ 4342124 w 6446999"/>
              <a:gd name="connsiteY4" fmla="*/ 6858000 h 6858000"/>
              <a:gd name="connsiteX5" fmla="*/ 2553921 w 6446999"/>
              <a:gd name="connsiteY5" fmla="*/ 6858000 h 6858000"/>
              <a:gd name="connsiteX6" fmla="*/ 661 w 6446999"/>
              <a:gd name="connsiteY6" fmla="*/ 5339864 h 6858000"/>
              <a:gd name="connsiteX7" fmla="*/ 299 w 6446999"/>
              <a:gd name="connsiteY7" fmla="*/ 1396044 h 6858000"/>
              <a:gd name="connsiteX8" fmla="*/ 2513726 w 6446999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446999" h="6858000">
                <a:moveTo>
                  <a:pt x="2513726" y="0"/>
                </a:moveTo>
                <a:lnTo>
                  <a:pt x="4301949" y="0"/>
                </a:lnTo>
                <a:lnTo>
                  <a:pt x="6446999" y="1338386"/>
                </a:lnTo>
                <a:lnTo>
                  <a:pt x="6446999" y="5624376"/>
                </a:lnTo>
                <a:lnTo>
                  <a:pt x="4342124" y="6858000"/>
                </a:lnTo>
                <a:lnTo>
                  <a:pt x="2553921" y="6858000"/>
                </a:lnTo>
                <a:lnTo>
                  <a:pt x="661" y="5339864"/>
                </a:lnTo>
                <a:cubicBezTo>
                  <a:pt x="-1473" y="4048155"/>
                  <a:pt x="2433" y="2687753"/>
                  <a:pt x="299" y="1396044"/>
                </a:cubicBezTo>
                <a:lnTo>
                  <a:pt x="2513726" y="0"/>
                </a:lnTo>
                <a:close/>
              </a:path>
            </a:pathLst>
          </a:custGeom>
          <a:noFill/>
        </p:spPr>
        <p:txBody>
          <a:bodyPr wrap="square"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dirty="0">
                <a:solidFill>
                  <a:schemeClr val="accent6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altLang="zh-CN"/>
              <a:t>Click icon to add picture</a:t>
            </a:r>
            <a:endParaRPr lang="en-US" dirty="0"/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84941C1A-E856-9A0E-8DE3-AE9829E1CB8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6700454">
            <a:off x="4553517" y="712702"/>
            <a:ext cx="1684923" cy="1325563"/>
          </a:xfrm>
          <a:prstGeom prst="rect">
            <a:avLst/>
          </a:prstGeom>
        </p:spPr>
      </p:pic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2133CC64-20D7-7602-46A7-B8D7D4F077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584821" y="311581"/>
            <a:ext cx="1896941" cy="2171612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98682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94698" y="2946400"/>
                  <a:pt x="4398682" y="3789083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noFill/>
          <a:ln w="19050" cap="flat" cmpd="sng" algn="ctr">
            <a:solidFill>
              <a:srgbClr val="DCE9F7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7D952"/>
              </a:solidFill>
              <a:effectLst/>
              <a:uLnTx/>
              <a:uFillTx/>
              <a:latin typeface="Posterama Text SemiBold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6125984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 side by s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E5C076-3B78-4451-8068-576892A08E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585788"/>
            <a:ext cx="3182027" cy="5683250"/>
          </a:xfrm>
        </p:spPr>
        <p:txBody>
          <a:bodyPr anchor="ctr"/>
          <a:lstStyle>
            <a:lvl1pPr>
              <a:defRPr/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015781-2431-48C9-AEF1-52FBD41AF3F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941888" y="585788"/>
            <a:ext cx="6667500" cy="5683249"/>
          </a:xfrm>
        </p:spPr>
        <p:txBody>
          <a:bodyPr anchor="ctr"/>
          <a:lstStyle>
            <a:lvl1pPr marL="231775" indent="-231775">
              <a:spcAft>
                <a:spcPts val="600"/>
              </a:spcAft>
              <a:buFont typeface="Wingdings" panose="05000000000000000000" pitchFamily="2" charset="2"/>
              <a:buChar char=""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35867F2-3994-4092-B53B-5792FEE698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4356100" y="2578100"/>
            <a:ext cx="0" cy="1701800"/>
          </a:xfrm>
          <a:prstGeom prst="line">
            <a:avLst/>
          </a:prstGeom>
          <a:ln w="28575">
            <a:solidFill>
              <a:schemeClr val="accent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A1DC2181-37AB-40A3-B61C-1DE7DBB57D63}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 dirty="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352842955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3" pos="2744">
          <p15:clr>
            <a:srgbClr val="5ACBF0"/>
          </p15:clr>
        </p15:guide>
        <p15:guide id="29" orient="horz" pos="2160">
          <p15:clr>
            <a:srgbClr val="5ACBF0"/>
          </p15:clr>
        </p15:guide>
        <p15:guide id="30" pos="2376">
          <p15:clr>
            <a:srgbClr val="5ACBF0"/>
          </p15:clr>
        </p15:guide>
        <p15:guide id="31" pos="3113">
          <p15:clr>
            <a:srgbClr val="5ACBF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eloper Code Layout">
    <p:bg>
      <p:bgPr>
        <a:solidFill>
          <a:srgbClr val="E1D3C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0636FE-845C-418D-82A1-1DA6DB73D7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82D46E0-16CE-40B0-8623-F82D5D41095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0" y="1436688"/>
            <a:ext cx="12192000" cy="5421312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44977AB6-1D7E-4858-A2EA-BF86577C39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436688"/>
            <a:ext cx="3788358" cy="446148"/>
          </a:xfrm>
          <a:gradFill flip="none" rotWithShape="1">
            <a:gsLst>
              <a:gs pos="0">
                <a:srgbClr val="000000"/>
              </a:gs>
              <a:gs pos="92000">
                <a:srgbClr val="000000"/>
              </a:gs>
              <a:gs pos="92000">
                <a:schemeClr val="accent1"/>
              </a:gs>
            </a:gsLst>
            <a:lin ang="16200000" scaled="1"/>
            <a:tileRect/>
          </a:gradFill>
        </p:spPr>
        <p:txBody>
          <a:bodyPr lIns="585216" tIns="91440" bIns="45720"/>
          <a:lstStyle>
            <a:lvl1pPr marL="0" indent="0">
              <a:buNone/>
              <a:defRPr sz="1999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nter title</a:t>
            </a:r>
          </a:p>
        </p:txBody>
      </p:sp>
      <p:sp>
        <p:nvSpPr>
          <p:cNvPr id="5" name="Text Placeholder 4" descr="This layout should only be used for developer code. The font used is a monospace font which is ideal for showing code.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3" y="2099310"/>
            <a:ext cx="11018520" cy="369332"/>
          </a:xfrm>
        </p:spPr>
        <p:txBody>
          <a:bodyPr/>
          <a:lstStyle>
            <a:lvl1pPr marL="0" indent="0">
              <a:buNone/>
              <a:tabLst/>
              <a:defRPr sz="240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tabLst>
                <a:tab pos="344488" algn="l"/>
              </a:tabLst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tabLst>
                <a:tab pos="569913" algn="l"/>
              </a:tabLst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tabLst>
                <a:tab pos="800100" algn="l"/>
              </a:tabLst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tabLst>
                <a:tab pos="1028700" algn="l"/>
              </a:tabLst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282491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132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de Bottom">
    <p:bg>
      <p:bgPr>
        <a:solidFill>
          <a:srgbClr val="E1D3C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1845FFD-6B9A-4013-932A-5E4D7E849D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7B17F8BB-3610-1A4F-9E76-B12E706A55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390" y="1230681"/>
            <a:ext cx="11018520" cy="369332"/>
          </a:xfrm>
        </p:spPr>
        <p:txBody>
          <a:bodyPr wrap="square">
            <a:spAutoFit/>
          </a:bodyPr>
          <a:lstStyle>
            <a:lvl1pPr marL="0" indent="0">
              <a:spcBef>
                <a:spcPts val="60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  <a:lvl2pPr marL="228531" indent="0">
              <a:buNone/>
              <a:defRPr sz="2400">
                <a:solidFill>
                  <a:srgbClr val="2F2F2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457063" indent="0">
              <a:buNone/>
              <a:defRPr/>
            </a:lvl3pPr>
            <a:lvl4pPr marL="685594" indent="0">
              <a:buNone/>
              <a:defRPr/>
            </a:lvl4pPr>
            <a:lvl5pPr marL="914126" indent="0"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1EBE70E-6A93-4EB4-A189-6F9DE42CEE1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0" y="2827138"/>
            <a:ext cx="12192000" cy="4030862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0E9A2E28-037B-FA4D-ADDC-1AFA11D65CB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2827138"/>
            <a:ext cx="3788358" cy="446148"/>
          </a:xfrm>
          <a:gradFill flip="none" rotWithShape="1">
            <a:gsLst>
              <a:gs pos="0">
                <a:srgbClr val="000000"/>
              </a:gs>
              <a:gs pos="92000">
                <a:srgbClr val="000000"/>
              </a:gs>
              <a:gs pos="92000">
                <a:schemeClr val="accent1"/>
              </a:gs>
            </a:gsLst>
            <a:lin ang="16200000" scaled="1"/>
            <a:tileRect/>
          </a:gradFill>
        </p:spPr>
        <p:txBody>
          <a:bodyPr lIns="585216" tIns="91440" bIns="45720"/>
          <a:lstStyle>
            <a:lvl1pPr marL="0" indent="0">
              <a:buNone/>
              <a:defRPr sz="1999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nter title</a:t>
            </a:r>
          </a:p>
        </p:txBody>
      </p:sp>
      <p:sp>
        <p:nvSpPr>
          <p:cNvPr id="13" name="Text Placeholder 4" descr="This layout should only be used for developer code. The font used is a monospace font which is ideal for showing code.">
            <a:extLst>
              <a:ext uri="{FF2B5EF4-FFF2-40B4-BE49-F238E27FC236}">
                <a16:creationId xmlns:a16="http://schemas.microsoft.com/office/drawing/2014/main" id="{47501FD0-A948-CC48-8B11-3BD4F2AE4E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6389" y="3491219"/>
            <a:ext cx="11018520" cy="369332"/>
          </a:xfrm>
        </p:spPr>
        <p:txBody>
          <a:bodyPr/>
          <a:lstStyle>
            <a:lvl1pPr marL="0" indent="0">
              <a:buNone/>
              <a:tabLst/>
              <a:defRPr sz="240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49" indent="0">
              <a:buNone/>
              <a:defRPr sz="23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32" indent="0">
              <a:buNone/>
              <a:defRPr sz="19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319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682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dirty="0"/>
              <a:t>Click to edit or paste code</a:t>
            </a:r>
          </a:p>
        </p:txBody>
      </p:sp>
    </p:spTree>
    <p:extLst>
      <p:ext uri="{BB962C8B-B14F-4D97-AF65-F5344CB8AC3E}">
        <p14:creationId xmlns:p14="http://schemas.microsoft.com/office/powerpoint/2010/main" val="35067038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4" orient="horz" pos="1776">
          <p15:clr>
            <a:srgbClr val="5ACBF0"/>
          </p15:clr>
        </p15:guide>
        <p15:guide id="5" orient="horz" pos="2197">
          <p15:clr>
            <a:srgbClr val="5ACBF0"/>
          </p15:clr>
        </p15:guide>
        <p15:guide id="6" orient="horz" pos="773">
          <p15:clr>
            <a:srgbClr val="5ACBF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de Top">
    <p:bg>
      <p:bgPr>
        <a:solidFill>
          <a:srgbClr val="E1D3C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1EBE70E-6A93-4EB4-A189-6F9DE42CEE1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0" y="0"/>
            <a:ext cx="12192000" cy="4030862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1845FFD-6B9A-4013-932A-5E4D7E849D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224580"/>
            <a:ext cx="11018520" cy="492443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0E9A2E28-037B-FA4D-ADDC-1AFA11D65CB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3788358" cy="446148"/>
          </a:xfrm>
          <a:gradFill flip="none" rotWithShape="1">
            <a:gsLst>
              <a:gs pos="0">
                <a:srgbClr val="000000"/>
              </a:gs>
              <a:gs pos="92000">
                <a:srgbClr val="000000"/>
              </a:gs>
              <a:gs pos="92000">
                <a:schemeClr val="accent1"/>
              </a:gs>
            </a:gsLst>
            <a:lin ang="16200000" scaled="1"/>
            <a:tileRect/>
          </a:gradFill>
        </p:spPr>
        <p:txBody>
          <a:bodyPr lIns="585216" tIns="91440" bIns="45720"/>
          <a:lstStyle>
            <a:lvl1pPr marL="0" indent="0">
              <a:buNone/>
              <a:defRPr sz="1999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nter title</a:t>
            </a:r>
          </a:p>
        </p:txBody>
      </p:sp>
      <p:sp>
        <p:nvSpPr>
          <p:cNvPr id="13" name="Text Placeholder 4" descr="This layout should only be used for developer code. The font used is a monospace font which is ideal for showing code.">
            <a:extLst>
              <a:ext uri="{FF2B5EF4-FFF2-40B4-BE49-F238E27FC236}">
                <a16:creationId xmlns:a16="http://schemas.microsoft.com/office/drawing/2014/main" id="{47501FD0-A948-CC48-8B11-3BD4F2AE4E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6389" y="660508"/>
            <a:ext cx="11018520" cy="369332"/>
          </a:xfrm>
        </p:spPr>
        <p:txBody>
          <a:bodyPr/>
          <a:lstStyle>
            <a:lvl1pPr marL="0" indent="0">
              <a:buNone/>
              <a:tabLst/>
              <a:defRPr sz="240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49" indent="0">
              <a:buNone/>
              <a:defRPr sz="23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32" indent="0">
              <a:buNone/>
              <a:defRPr sz="19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319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682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dirty="0"/>
              <a:t>Click to edit or paste cod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7B17F8BB-3610-1A4F-9E76-B12E706A55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1152" y="4996505"/>
            <a:ext cx="11018520" cy="369332"/>
          </a:xfrm>
        </p:spPr>
        <p:txBody>
          <a:bodyPr wrap="square">
            <a:spAutoFit/>
          </a:bodyPr>
          <a:lstStyle>
            <a:lvl1pPr marL="0" indent="0">
              <a:spcBef>
                <a:spcPts val="60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  <a:lvl2pPr marL="228531" indent="0">
              <a:buNone/>
              <a:defRPr sz="2400">
                <a:solidFill>
                  <a:srgbClr val="2F2F2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457063" indent="0">
              <a:buNone/>
              <a:defRPr/>
            </a:lvl3pPr>
            <a:lvl4pPr marL="685594" indent="0">
              <a:buNone/>
              <a:defRPr/>
            </a:lvl4pPr>
            <a:lvl5pPr marL="914126" indent="0"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7675927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4" orient="horz" pos="2661">
          <p15:clr>
            <a:srgbClr val="5ACBF0"/>
          </p15:clr>
        </p15:guide>
        <p15:guide id="5" orient="horz" pos="3147">
          <p15:clr>
            <a:srgbClr val="5ACBF0"/>
          </p15:clr>
        </p15:guide>
        <p15:guide id="6" orient="horz" pos="419">
          <p15:clr>
            <a:srgbClr val="5ACBF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de Right side">
    <p:bg>
      <p:bgPr>
        <a:solidFill>
          <a:srgbClr val="E1D3C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82BB27-7DA5-4478-8C18-C1FFEE20AA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457200"/>
            <a:ext cx="4040887" cy="492443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2BB818A5-4223-0847-B6E2-655C7DC7B6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8965" y="1338139"/>
            <a:ext cx="4040185" cy="369332"/>
          </a:xfr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2400" b="0" i="0" baseline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100000"/>
              </a:lnSpc>
              <a:spcBef>
                <a:spcPts val="60"/>
              </a:spcBef>
              <a:spcAft>
                <a:spcPts val="60"/>
              </a:spcAft>
              <a:buNone/>
              <a:defRPr sz="2400" b="0" i="0">
                <a:solidFill>
                  <a:srgbClr val="2F2F2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457063" indent="0">
              <a:buNone/>
              <a:defRPr/>
            </a:lvl3pPr>
            <a:lvl4pPr marL="685594" indent="0">
              <a:buNone/>
              <a:defRPr/>
            </a:lvl4pPr>
            <a:lvl5pPr marL="914126" indent="0"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316165A-5926-4F59-B348-996936FBB5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5205984" y="0"/>
            <a:ext cx="6986016" cy="6858000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0D599919-A8E3-4D2B-86CF-50C6704F17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11763" y="0"/>
            <a:ext cx="3788358" cy="492314"/>
          </a:xfrm>
          <a:gradFill flip="none" rotWithShape="1">
            <a:gsLst>
              <a:gs pos="0">
                <a:srgbClr val="000000"/>
              </a:gs>
              <a:gs pos="99000">
                <a:srgbClr val="000000"/>
              </a:gs>
              <a:gs pos="99000">
                <a:schemeClr val="accent1"/>
              </a:gs>
            </a:gsLst>
            <a:lin ang="10800000" scaled="1"/>
            <a:tileRect/>
          </a:gradFill>
        </p:spPr>
        <p:txBody>
          <a:bodyPr lIns="585216" tIns="91440" bIns="91440"/>
          <a:lstStyle>
            <a:lvl1pPr marL="0" indent="0">
              <a:buNone/>
              <a:defRPr sz="1999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nter title</a:t>
            </a:r>
          </a:p>
        </p:txBody>
      </p:sp>
      <p:sp>
        <p:nvSpPr>
          <p:cNvPr id="13" name="Text Placeholder 4" descr="This layout should only be used for developer code. The font used is a monospace font which is ideal for showing code.">
            <a:extLst>
              <a:ext uri="{FF2B5EF4-FFF2-40B4-BE49-F238E27FC236}">
                <a16:creationId xmlns:a16="http://schemas.microsoft.com/office/drawing/2014/main" id="{47501FD0-A948-CC48-8B11-3BD4F2AE4E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00725" y="709187"/>
            <a:ext cx="5801961" cy="369332"/>
          </a:xfrm>
        </p:spPr>
        <p:txBody>
          <a:bodyPr/>
          <a:lstStyle>
            <a:lvl1pPr marL="0" indent="0">
              <a:buNone/>
              <a:tabLst/>
              <a:defRPr sz="2400">
                <a:solidFill>
                  <a:srgbClr val="2F2F2F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49" indent="0">
              <a:buNone/>
              <a:defRPr sz="23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32" indent="0">
              <a:buNone/>
              <a:defRPr sz="19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319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682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dirty="0"/>
              <a:t>Click to edit or paste code</a:t>
            </a:r>
          </a:p>
        </p:txBody>
      </p:sp>
    </p:spTree>
    <p:extLst>
      <p:ext uri="{BB962C8B-B14F-4D97-AF65-F5344CB8AC3E}">
        <p14:creationId xmlns:p14="http://schemas.microsoft.com/office/powerpoint/2010/main" val="3104150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445">
          <p15:clr>
            <a:srgbClr val="5ACBF0"/>
          </p15:clr>
        </p15:guide>
        <p15:guide id="4" orient="horz" pos="843">
          <p15:clr>
            <a:srgbClr val="5ACBF0"/>
          </p15:clr>
        </p15:guide>
        <p15:guide id="7" pos="3283">
          <p15:clr>
            <a:srgbClr val="5ACBF0"/>
          </p15:clr>
        </p15:guide>
        <p15:guide id="8" pos="3654">
          <p15:clr>
            <a:srgbClr val="5ACBF0"/>
          </p15:clr>
        </p15:guide>
        <p15:guide id="9" pos="2916">
          <p15:clr>
            <a:srgbClr val="5ACBF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de Left sde">
    <p:bg>
      <p:bgPr>
        <a:solidFill>
          <a:srgbClr val="E1D3C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2316165A-5926-4F59-B348-996936FBB5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-2" y="0"/>
            <a:ext cx="6986016" cy="6858000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BB14A7D-C409-4A7C-9D82-A2E5DBB8AB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575549" y="457200"/>
            <a:ext cx="4031233" cy="492443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0D599919-A8E3-4D2B-86CF-50C6704F17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-1" y="0"/>
            <a:ext cx="3788358" cy="492314"/>
          </a:xfrm>
          <a:gradFill flip="none" rotWithShape="1">
            <a:gsLst>
              <a:gs pos="0">
                <a:srgbClr val="000000"/>
              </a:gs>
              <a:gs pos="99000">
                <a:srgbClr val="000000"/>
              </a:gs>
              <a:gs pos="99000">
                <a:schemeClr val="accent1"/>
              </a:gs>
            </a:gsLst>
            <a:lin ang="10800000" scaled="1"/>
            <a:tileRect/>
          </a:gradFill>
        </p:spPr>
        <p:txBody>
          <a:bodyPr lIns="585216" tIns="91440" bIns="91440"/>
          <a:lstStyle>
            <a:lvl1pPr marL="0" indent="0">
              <a:buNone/>
              <a:defRPr sz="1999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nter title</a:t>
            </a:r>
          </a:p>
        </p:txBody>
      </p:sp>
      <p:sp>
        <p:nvSpPr>
          <p:cNvPr id="13" name="Text Placeholder 4" descr="This layout should only be used for developer code. The font used is a monospace font which is ideal for showing code.">
            <a:extLst>
              <a:ext uri="{FF2B5EF4-FFF2-40B4-BE49-F238E27FC236}">
                <a16:creationId xmlns:a16="http://schemas.microsoft.com/office/drawing/2014/main" id="{47501FD0-A948-CC48-8B11-3BD4F2AE4E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4199" y="706011"/>
            <a:ext cx="5819775" cy="369332"/>
          </a:xfrm>
        </p:spPr>
        <p:txBody>
          <a:bodyPr/>
          <a:lstStyle>
            <a:lvl1pPr marL="0" indent="0">
              <a:buNone/>
              <a:defRPr sz="2400">
                <a:solidFill>
                  <a:srgbClr val="2F2F2F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49" indent="0">
              <a:buNone/>
              <a:defRPr sz="23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32" indent="0">
              <a:buNone/>
              <a:defRPr sz="19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319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682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dirty="0"/>
              <a:t>Click to edit or paste cod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2BB818A5-4223-0847-B6E2-655C7DC7B6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575550" y="1336675"/>
            <a:ext cx="4033838" cy="369332"/>
          </a:xfr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2400" b="0" i="0" baseline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100000"/>
              </a:lnSpc>
              <a:spcBef>
                <a:spcPts val="60"/>
              </a:spcBef>
              <a:spcAft>
                <a:spcPts val="60"/>
              </a:spcAft>
              <a:buNone/>
              <a:defRPr sz="2400" b="0" i="0">
                <a:solidFill>
                  <a:srgbClr val="2F2F2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457063" indent="0">
              <a:buNone/>
              <a:defRPr/>
            </a:lvl3pPr>
            <a:lvl4pPr marL="685594" indent="0">
              <a:buNone/>
              <a:defRPr/>
            </a:lvl4pPr>
            <a:lvl5pPr marL="914126" indent="0"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2510686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436">
          <p15:clr>
            <a:srgbClr val="5ACBF0"/>
          </p15:clr>
        </p15:guide>
        <p15:guide id="4" orient="horz" pos="839">
          <p15:clr>
            <a:srgbClr val="5ACBF0"/>
          </p15:clr>
        </p15:guide>
        <p15:guide id="6" pos="4402">
          <p15:clr>
            <a:srgbClr val="5ACBF0"/>
          </p15:clr>
        </p15:guide>
        <p15:guide id="7" pos="4034">
          <p15:clr>
            <a:srgbClr val="5ACBF0"/>
          </p15:clr>
        </p15:guide>
        <p15:guide id="8" pos="4772">
          <p15:clr>
            <a:srgbClr val="5ACBF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A4598781-713D-A153-D7DE-A0B8C9FEA45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2977823"/>
            <a:ext cx="6217920" cy="5539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0" kern="1200" cap="none" spc="-50" baseline="0" dirty="0">
                <a:ln w="3175">
                  <a:noFill/>
                </a:ln>
                <a:solidFill>
                  <a:srgbClr val="0E4987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6217920" cy="246221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spc="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40893587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 slide 2">
    <p:bg>
      <p:bgPr>
        <a:solidFill>
          <a:srgbClr val="E1D3C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2977823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0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9144000" cy="246221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spc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26760151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">
    <p:bg>
      <p:bgPr>
        <a:solidFill>
          <a:srgbClr val="091F2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61ED2F1E-B11D-7B75-2BE7-2C2CAA4F0E4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2980408"/>
            <a:ext cx="6675120" cy="5539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0" kern="1200" cap="none" spc="-50" baseline="0" dirty="0">
                <a:ln w="3175">
                  <a:noFill/>
                </a:ln>
                <a:solidFill>
                  <a:srgbClr val="0E4987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6040080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2">
    <p:bg>
      <p:bgPr>
        <a:solidFill>
          <a:srgbClr val="E1D3C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2980408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0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1534155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Graphic 22">
            <a:extLst>
              <a:ext uri="{FF2B5EF4-FFF2-40B4-BE49-F238E27FC236}">
                <a16:creationId xmlns:a16="http://schemas.microsoft.com/office/drawing/2014/main" id="{910EF20F-9BE9-033A-D5CF-C0E81A01EC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8000"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18638" r="46276"/>
          <a:stretch/>
        </p:blipFill>
        <p:spPr>
          <a:xfrm rot="5400000">
            <a:off x="4690376" y="-2556823"/>
            <a:ext cx="8829823" cy="10520337"/>
          </a:xfrm>
          <a:prstGeom prst="rect">
            <a:avLst/>
          </a:prstGeom>
        </p:spPr>
      </p:pic>
      <p:sp>
        <p:nvSpPr>
          <p:cNvPr id="18" name="Hexagon 17">
            <a:extLst>
              <a:ext uri="{FF2B5EF4-FFF2-40B4-BE49-F238E27FC236}">
                <a16:creationId xmlns:a16="http://schemas.microsoft.com/office/drawing/2014/main" id="{ADF8D8A3-175E-9A50-A98B-3766DAAB5EE2}"/>
              </a:ext>
            </a:extLst>
          </p:cNvPr>
          <p:cNvSpPr/>
          <p:nvPr userDrawn="1"/>
        </p:nvSpPr>
        <p:spPr>
          <a:xfrm rot="5400000">
            <a:off x="1308232" y="2004972"/>
            <a:ext cx="3593592" cy="2880360"/>
          </a:xfrm>
          <a:prstGeom prst="hexagon">
            <a:avLst>
              <a:gd name="adj" fmla="val 31211"/>
              <a:gd name="vf" fmla="val 11547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11" name="Text 47" descr="Click icon to add picture">
            <a:extLst>
              <a:ext uri="{FF2B5EF4-FFF2-40B4-BE49-F238E27FC236}">
                <a16:creationId xmlns:a16="http://schemas.microsoft.com/office/drawing/2014/main" id="{B264F104-ED4D-9A7F-E598-295893E05B7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319235" y="2911781"/>
            <a:ext cx="1570612" cy="107082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13000"/>
              </a:lnSpc>
              <a:buNone/>
              <a:defRPr sz="1800" b="1" cap="all" baseline="0">
                <a:solidFill>
                  <a:schemeClr val="accent6"/>
                </a:solidFill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 Master title style 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7A084A88-6A62-9495-6CFE-1127D5CAAAB2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581710" y="555648"/>
            <a:ext cx="5045662" cy="5783096"/>
          </a:xfrm>
          <a:custGeom>
            <a:avLst/>
            <a:gdLst>
              <a:gd name="connsiteX0" fmla="*/ 2523318 w 5045662"/>
              <a:gd name="connsiteY0" fmla="*/ 1092708 h 5783096"/>
              <a:gd name="connsiteX1" fmla="*/ 1083139 w 5045662"/>
              <a:gd name="connsiteY1" fmla="*/ 1991697 h 5783096"/>
              <a:gd name="connsiteX2" fmla="*/ 1083139 w 5045662"/>
              <a:gd name="connsiteY2" fmla="*/ 3787311 h 5783096"/>
              <a:gd name="connsiteX3" fmla="*/ 2523318 w 5045662"/>
              <a:gd name="connsiteY3" fmla="*/ 4686300 h 5783096"/>
              <a:gd name="connsiteX4" fmla="*/ 3963497 w 5045662"/>
              <a:gd name="connsiteY4" fmla="*/ 3787311 h 5783096"/>
              <a:gd name="connsiteX5" fmla="*/ 3963497 w 5045662"/>
              <a:gd name="connsiteY5" fmla="*/ 1991697 h 5783096"/>
              <a:gd name="connsiteX6" fmla="*/ 2470122 w 5045662"/>
              <a:gd name="connsiteY6" fmla="*/ 0 h 5783096"/>
              <a:gd name="connsiteX7" fmla="*/ 5037208 w 5045662"/>
              <a:gd name="connsiteY7" fmla="*/ 1458369 h 5783096"/>
              <a:gd name="connsiteX8" fmla="*/ 5045662 w 5045662"/>
              <a:gd name="connsiteY8" fmla="*/ 4339769 h 5783096"/>
              <a:gd name="connsiteX9" fmla="*/ 2561576 w 5045662"/>
              <a:gd name="connsiteY9" fmla="*/ 5783096 h 5783096"/>
              <a:gd name="connsiteX10" fmla="*/ 24164 w 5045662"/>
              <a:gd name="connsiteY10" fmla="*/ 4354881 h 5783096"/>
              <a:gd name="connsiteX11" fmla="*/ 0 w 5045662"/>
              <a:gd name="connsiteY11" fmla="*/ 1453765 h 5783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045662" h="5783096">
                <a:moveTo>
                  <a:pt x="2523318" y="1092708"/>
                </a:moveTo>
                <a:lnTo>
                  <a:pt x="1083139" y="1991697"/>
                </a:lnTo>
                <a:lnTo>
                  <a:pt x="1083139" y="3787311"/>
                </a:lnTo>
                <a:lnTo>
                  <a:pt x="2523318" y="4686300"/>
                </a:lnTo>
                <a:lnTo>
                  <a:pt x="3963497" y="3787311"/>
                </a:lnTo>
                <a:lnTo>
                  <a:pt x="3963497" y="1991697"/>
                </a:lnTo>
                <a:close/>
                <a:moveTo>
                  <a:pt x="2470122" y="0"/>
                </a:moveTo>
                <a:lnTo>
                  <a:pt x="5037208" y="1458369"/>
                </a:lnTo>
                <a:cubicBezTo>
                  <a:pt x="5040026" y="2418836"/>
                  <a:pt x="5042844" y="3379302"/>
                  <a:pt x="5045662" y="4339769"/>
                </a:cubicBezTo>
                <a:lnTo>
                  <a:pt x="2561576" y="5783096"/>
                </a:lnTo>
                <a:lnTo>
                  <a:pt x="24164" y="4354881"/>
                </a:lnTo>
                <a:lnTo>
                  <a:pt x="0" y="1453765"/>
                </a:lnTo>
                <a:close/>
              </a:path>
            </a:pathLst>
          </a:custGeom>
          <a:noFill/>
        </p:spPr>
        <p:txBody>
          <a:bodyPr wrap="square" tIns="457200">
            <a:noAutofit/>
          </a:bodyPr>
          <a:lstStyle>
            <a:lvl1pPr marL="0" indent="0" algn="ctr">
              <a:buNone/>
              <a:defRPr>
                <a:solidFill>
                  <a:schemeClr val="accent6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8" name="Title Placeholder 4">
            <a:extLst>
              <a:ext uri="{FF2B5EF4-FFF2-40B4-BE49-F238E27FC236}">
                <a16:creationId xmlns:a16="http://schemas.microsoft.com/office/drawing/2014/main" id="{F73BF8E3-2426-5D65-6582-D4B03C765A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10510" y="2041071"/>
            <a:ext cx="4441188" cy="277585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771134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994809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61">
          <p15:clr>
            <a:srgbClr val="A4A3A4"/>
          </p15:clr>
        </p15:guide>
        <p15:guide id="15" pos="3348">
          <p15:clr>
            <a:srgbClr val="A4A3A4"/>
          </p15:clr>
        </p15:guide>
        <p15:guide id="16" pos="3754">
          <p15:clr>
            <a:srgbClr val="A4A3A4"/>
          </p15:clr>
        </p15:guide>
        <p15:guide id="17" pos="3931">
          <p15:clr>
            <a:srgbClr val="A4A3A4"/>
          </p15:clr>
        </p15:guide>
        <p15:guide id="18" pos="4342">
          <p15:clr>
            <a:srgbClr val="A4A3A4"/>
          </p15:clr>
        </p15:guide>
        <p15:guide id="19" pos="4531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04533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log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 descr="This is a copyright notice that should be included on the final slide."/>
          <p:cNvSpPr txBox="1">
            <a:spLocks noChangeArrowheads="1"/>
          </p:cNvSpPr>
          <p:nvPr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solidFill>
                  <a:schemeClr val="tx1"/>
                </a:soli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5" name="MS logo white - EMF" descr="Microsoft logo white text version">
            <a:extLst>
              <a:ext uri="{FF2B5EF4-FFF2-40B4-BE49-F238E27FC236}">
                <a16:creationId xmlns:a16="http://schemas.microsoft.com/office/drawing/2014/main" id="{70D3778F-A717-44C8-9013-FF206B15DD6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13281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ck Notes slide Layou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>
            <a:spAutoFit/>
          </a:bodyPr>
          <a:lstStyle>
            <a:lvl1pPr>
              <a:defRPr sz="36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69038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solidFill>
                  <a:srgbClr val="000000"/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29702858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288">
          <p15:clr>
            <a:srgbClr val="5ACBF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st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E530C24-163F-15BF-3D01-A8CA8BF268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3059446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6F9158F9-840A-056E-53C7-B6FB442AB3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12000"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549" t="1" b="-2876"/>
          <a:stretch/>
        </p:blipFill>
        <p:spPr>
          <a:xfrm rot="18047890">
            <a:off x="-1167292" y="-928723"/>
            <a:ext cx="10349527" cy="8684527"/>
          </a:xfrm>
          <a:prstGeom prst="rect">
            <a:avLst/>
          </a:prstGeom>
        </p:spPr>
      </p:pic>
      <p:sp>
        <p:nvSpPr>
          <p:cNvPr id="8" name="Title Placeholder 4">
            <a:extLst>
              <a:ext uri="{FF2B5EF4-FFF2-40B4-BE49-F238E27FC236}">
                <a16:creationId xmlns:a16="http://schemas.microsoft.com/office/drawing/2014/main" id="{F73BF8E3-2426-5D65-6582-D4B03C765A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37122" y="1477108"/>
            <a:ext cx="4441188" cy="1570892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ADF8D8A3-175E-9A50-A98B-3766DAAB5EE2}"/>
              </a:ext>
            </a:extLst>
          </p:cNvPr>
          <p:cNvSpPr/>
          <p:nvPr userDrawn="1"/>
        </p:nvSpPr>
        <p:spPr>
          <a:xfrm rot="5400000">
            <a:off x="1110730" y="2041026"/>
            <a:ext cx="2502359" cy="2502849"/>
          </a:xfrm>
          <a:prstGeom prst="ellipse">
            <a:avLst/>
          </a:prstGeom>
          <a:solidFill>
            <a:schemeClr val="bg1"/>
          </a:solidFill>
          <a:ln w="63500">
            <a:solidFill>
              <a:srgbClr val="4BBBC4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11" name="Text 47" descr="Click icon to add picture">
            <a:extLst>
              <a:ext uri="{FF2B5EF4-FFF2-40B4-BE49-F238E27FC236}">
                <a16:creationId xmlns:a16="http://schemas.microsoft.com/office/drawing/2014/main" id="{B264F104-ED4D-9A7F-E598-295893E05B7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99771" y="2669999"/>
            <a:ext cx="1570612" cy="107082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13000"/>
              </a:lnSpc>
              <a:buNone/>
              <a:defRPr sz="1800" b="1" cap="all" baseline="0">
                <a:solidFill>
                  <a:schemeClr val="accent6"/>
                </a:solidFill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 Master title style </a:t>
            </a:r>
          </a:p>
        </p:txBody>
      </p:sp>
    </p:spTree>
    <p:extLst>
      <p:ext uri="{BB962C8B-B14F-4D97-AF65-F5344CB8AC3E}">
        <p14:creationId xmlns:p14="http://schemas.microsoft.com/office/powerpoint/2010/main" val="170562391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42BC57-1D8D-9F59-24F9-1E82322799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828" y="984750"/>
            <a:ext cx="10889795" cy="1115434"/>
          </a:xfrm>
          <a:solidFill>
            <a:srgbClr val="F8F6F5">
              <a:alpha val="88000"/>
            </a:srgbClr>
          </a:solidFill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9D08A84-9C8E-66C7-6D83-47526899D8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055092" y="-459177"/>
            <a:ext cx="1942221" cy="1527985"/>
          </a:xfrm>
          <a:prstGeom prst="rect">
            <a:avLst/>
          </a:prstGeom>
        </p:spPr>
      </p:pic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ACBAF09-3E46-547F-D301-81E04522E7BE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87375" y="2159392"/>
            <a:ext cx="10890250" cy="4360472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768272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5.xml"/><Relationship Id="rId18" Type="http://schemas.openxmlformats.org/officeDocument/2006/relationships/slideLayout" Target="../slideLayouts/slideLayout40.xml"/><Relationship Id="rId26" Type="http://schemas.openxmlformats.org/officeDocument/2006/relationships/slideLayout" Target="../slideLayouts/slideLayout48.xml"/><Relationship Id="rId39" Type="http://schemas.openxmlformats.org/officeDocument/2006/relationships/slideLayout" Target="../slideLayouts/slideLayout61.xml"/><Relationship Id="rId21" Type="http://schemas.openxmlformats.org/officeDocument/2006/relationships/slideLayout" Target="../slideLayouts/slideLayout43.xml"/><Relationship Id="rId34" Type="http://schemas.openxmlformats.org/officeDocument/2006/relationships/slideLayout" Target="../slideLayouts/slideLayout56.xml"/><Relationship Id="rId42" Type="http://schemas.openxmlformats.org/officeDocument/2006/relationships/slideLayout" Target="../slideLayouts/slideLayout64.xml"/><Relationship Id="rId47" Type="http://schemas.openxmlformats.org/officeDocument/2006/relationships/slideLayout" Target="../slideLayouts/slideLayout69.xml"/><Relationship Id="rId50" Type="http://schemas.openxmlformats.org/officeDocument/2006/relationships/slideLayout" Target="../slideLayouts/slideLayout72.xml"/><Relationship Id="rId55" Type="http://schemas.openxmlformats.org/officeDocument/2006/relationships/image" Target="../media/image5.svg"/><Relationship Id="rId7" Type="http://schemas.openxmlformats.org/officeDocument/2006/relationships/slideLayout" Target="../slideLayouts/slideLayout29.xml"/><Relationship Id="rId2" Type="http://schemas.openxmlformats.org/officeDocument/2006/relationships/slideLayout" Target="../slideLayouts/slideLayout24.xml"/><Relationship Id="rId16" Type="http://schemas.openxmlformats.org/officeDocument/2006/relationships/slideLayout" Target="../slideLayouts/slideLayout38.xml"/><Relationship Id="rId29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33.xml"/><Relationship Id="rId24" Type="http://schemas.openxmlformats.org/officeDocument/2006/relationships/slideLayout" Target="../slideLayouts/slideLayout46.xml"/><Relationship Id="rId32" Type="http://schemas.openxmlformats.org/officeDocument/2006/relationships/slideLayout" Target="../slideLayouts/slideLayout54.xml"/><Relationship Id="rId37" Type="http://schemas.openxmlformats.org/officeDocument/2006/relationships/slideLayout" Target="../slideLayouts/slideLayout59.xml"/><Relationship Id="rId40" Type="http://schemas.openxmlformats.org/officeDocument/2006/relationships/slideLayout" Target="../slideLayouts/slideLayout62.xml"/><Relationship Id="rId45" Type="http://schemas.openxmlformats.org/officeDocument/2006/relationships/slideLayout" Target="../slideLayouts/slideLayout67.xml"/><Relationship Id="rId53" Type="http://schemas.openxmlformats.org/officeDocument/2006/relationships/theme" Target="../theme/theme2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19" Type="http://schemas.openxmlformats.org/officeDocument/2006/relationships/slideLayout" Target="../slideLayouts/slideLayout41.xml"/><Relationship Id="rId31" Type="http://schemas.openxmlformats.org/officeDocument/2006/relationships/slideLayout" Target="../slideLayouts/slideLayout53.xml"/><Relationship Id="rId44" Type="http://schemas.openxmlformats.org/officeDocument/2006/relationships/slideLayout" Target="../slideLayouts/slideLayout66.xml"/><Relationship Id="rId52" Type="http://schemas.openxmlformats.org/officeDocument/2006/relationships/slideLayout" Target="../slideLayouts/slideLayout74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Relationship Id="rId22" Type="http://schemas.openxmlformats.org/officeDocument/2006/relationships/slideLayout" Target="../slideLayouts/slideLayout44.xml"/><Relationship Id="rId27" Type="http://schemas.openxmlformats.org/officeDocument/2006/relationships/slideLayout" Target="../slideLayouts/slideLayout49.xml"/><Relationship Id="rId30" Type="http://schemas.openxmlformats.org/officeDocument/2006/relationships/slideLayout" Target="../slideLayouts/slideLayout52.xml"/><Relationship Id="rId35" Type="http://schemas.openxmlformats.org/officeDocument/2006/relationships/slideLayout" Target="../slideLayouts/slideLayout57.xml"/><Relationship Id="rId43" Type="http://schemas.openxmlformats.org/officeDocument/2006/relationships/slideLayout" Target="../slideLayouts/slideLayout65.xml"/><Relationship Id="rId48" Type="http://schemas.openxmlformats.org/officeDocument/2006/relationships/slideLayout" Target="../slideLayouts/slideLayout70.xml"/><Relationship Id="rId8" Type="http://schemas.openxmlformats.org/officeDocument/2006/relationships/slideLayout" Target="../slideLayouts/slideLayout30.xml"/><Relationship Id="rId51" Type="http://schemas.openxmlformats.org/officeDocument/2006/relationships/slideLayout" Target="../slideLayouts/slideLayout73.xml"/><Relationship Id="rId3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4.xml"/><Relationship Id="rId17" Type="http://schemas.openxmlformats.org/officeDocument/2006/relationships/slideLayout" Target="../slideLayouts/slideLayout39.xml"/><Relationship Id="rId25" Type="http://schemas.openxmlformats.org/officeDocument/2006/relationships/slideLayout" Target="../slideLayouts/slideLayout47.xml"/><Relationship Id="rId33" Type="http://schemas.openxmlformats.org/officeDocument/2006/relationships/slideLayout" Target="../slideLayouts/slideLayout55.xml"/><Relationship Id="rId38" Type="http://schemas.openxmlformats.org/officeDocument/2006/relationships/slideLayout" Target="../slideLayouts/slideLayout60.xml"/><Relationship Id="rId46" Type="http://schemas.openxmlformats.org/officeDocument/2006/relationships/slideLayout" Target="../slideLayouts/slideLayout68.xml"/><Relationship Id="rId20" Type="http://schemas.openxmlformats.org/officeDocument/2006/relationships/slideLayout" Target="../slideLayouts/slideLayout42.xml"/><Relationship Id="rId41" Type="http://schemas.openxmlformats.org/officeDocument/2006/relationships/slideLayout" Target="../slideLayouts/slideLayout63.xml"/><Relationship Id="rId54" Type="http://schemas.openxmlformats.org/officeDocument/2006/relationships/image" Target="../media/image4.png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7.xml"/><Relationship Id="rId23" Type="http://schemas.openxmlformats.org/officeDocument/2006/relationships/slideLayout" Target="../slideLayouts/slideLayout45.xml"/><Relationship Id="rId28" Type="http://schemas.openxmlformats.org/officeDocument/2006/relationships/slideLayout" Target="../slideLayouts/slideLayout50.xml"/><Relationship Id="rId36" Type="http://schemas.openxmlformats.org/officeDocument/2006/relationships/slideLayout" Target="../slideLayouts/slideLayout58.xml"/><Relationship Id="rId49" Type="http://schemas.openxmlformats.org/officeDocument/2006/relationships/slideLayout" Target="../slideLayouts/slideLayout7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3">
            <a:alpha val="2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8CB8A3D-9A54-FD7C-F6A5-B33E6C891A4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2326943"/>
            <a:ext cx="10515600" cy="385002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 dirty="0"/>
          </a:p>
        </p:txBody>
      </p:sp>
      <p:sp>
        <p:nvSpPr>
          <p:cNvPr id="5" name="Title Placeholder 4">
            <a:extLst>
              <a:ext uri="{FF2B5EF4-FFF2-40B4-BE49-F238E27FC236}">
                <a16:creationId xmlns:a16="http://schemas.microsoft.com/office/drawing/2014/main" id="{F38A7675-78A2-B642-22AF-B98514C68B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87933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GB" noProof="0"/>
              <a:t>Click to edit Master title style</a:t>
            </a:r>
            <a:endParaRPr lang="en-US" noProof="0"/>
          </a:p>
        </p:txBody>
      </p:sp>
      <p:pic>
        <p:nvPicPr>
          <p:cNvPr id="2" name="Picture 1" descr="A picture containing icon&#10;&#10;Description automatically generated">
            <a:extLst>
              <a:ext uri="{FF2B5EF4-FFF2-40B4-BE49-F238E27FC236}">
                <a16:creationId xmlns:a16="http://schemas.microsoft.com/office/drawing/2014/main" id="{C7459CBD-F749-72E9-C457-BB62F506508D}"/>
              </a:ext>
            </a:extLst>
          </p:cNvPr>
          <p:cNvPicPr>
            <a:picLocks noChangeAspect="1"/>
          </p:cNvPicPr>
          <p:nvPr userDrawn="1"/>
        </p:nvPicPr>
        <p:blipFill>
          <a:blip r:embed="rId24"/>
          <a:stretch>
            <a:fillRect/>
          </a:stretch>
        </p:blipFill>
        <p:spPr>
          <a:xfrm>
            <a:off x="165240" y="156289"/>
            <a:ext cx="2141009" cy="582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05742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73" r:id="rId2"/>
    <p:sldLayoutId id="2147483672" r:id="rId3"/>
    <p:sldLayoutId id="2147483669" r:id="rId4"/>
    <p:sldLayoutId id="2147483652" r:id="rId5"/>
    <p:sldLayoutId id="2147483651" r:id="rId6"/>
    <p:sldLayoutId id="2147483653" r:id="rId7"/>
    <p:sldLayoutId id="2147483671" r:id="rId8"/>
    <p:sldLayoutId id="2147483654" r:id="rId9"/>
    <p:sldLayoutId id="2147483655" r:id="rId10"/>
    <p:sldLayoutId id="2147483656" r:id="rId11"/>
    <p:sldLayoutId id="2147483657" r:id="rId12"/>
    <p:sldLayoutId id="2147483658" r:id="rId13"/>
    <p:sldLayoutId id="2147483659" r:id="rId14"/>
    <p:sldLayoutId id="2147483668" r:id="rId15"/>
    <p:sldLayoutId id="2147483661" r:id="rId16"/>
    <p:sldLayoutId id="2147483662" r:id="rId17"/>
    <p:sldLayoutId id="2147483663" r:id="rId18"/>
    <p:sldLayoutId id="2147483664" r:id="rId19"/>
    <p:sldLayoutId id="2147483675" r:id="rId20"/>
    <p:sldLayoutId id="2147483676" r:id="rId21"/>
    <p:sldLayoutId id="2147483665" r:id="rId2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accent6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accent6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accent6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accent6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accent6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32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5640" userDrawn="1">
          <p15:clr>
            <a:srgbClr val="F26B43"/>
          </p15:clr>
        </p15:guide>
        <p15:guide id="4" pos="1656" userDrawn="1">
          <p15:clr>
            <a:srgbClr val="F26B43"/>
          </p15:clr>
        </p15:guide>
        <p15:guide id="5" pos="520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blackWhite">
      <p:bgPr>
        <a:solidFill>
          <a:srgbClr val="FFF8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44" name="Graphic 143">
            <a:extLst>
              <a:ext uri="{FF2B5EF4-FFF2-40B4-BE49-F238E27FC236}">
                <a16:creationId xmlns:a16="http://schemas.microsoft.com/office/drawing/2014/main" id="{55FCE7D5-5796-0746-3173-EB75FBE85E45}"/>
              </a:ext>
            </a:extLst>
          </p:cNvPr>
          <p:cNvPicPr>
            <a:picLocks noChangeAspect="1"/>
          </p:cNvPicPr>
          <p:nvPr/>
        </p:nvPicPr>
        <p:blipFill>
          <a:blip r:embed="rId54">
            <a:extLst>
              <a:ext uri="{96DAC541-7B7A-43D3-8B79-37D633B846F1}">
                <asvg:svgBlip xmlns:asvg="http://schemas.microsoft.com/office/drawing/2016/SVG/main" r:embed="rId55"/>
              </a:ext>
            </a:extLst>
          </a:blip>
          <a:srcRect/>
          <a:stretch/>
        </p:blipFill>
        <p:spPr>
          <a:xfrm rot="5400000">
            <a:off x="9509919" y="2743200"/>
            <a:ext cx="6858000" cy="137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64547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  <p:sldLayoutId id="2147483698" r:id="rId21"/>
    <p:sldLayoutId id="2147483699" r:id="rId22"/>
    <p:sldLayoutId id="2147483700" r:id="rId23"/>
    <p:sldLayoutId id="2147483701" r:id="rId24"/>
    <p:sldLayoutId id="2147483702" r:id="rId25"/>
    <p:sldLayoutId id="2147483703" r:id="rId26"/>
    <p:sldLayoutId id="2147483704" r:id="rId27"/>
    <p:sldLayoutId id="2147483705" r:id="rId28"/>
    <p:sldLayoutId id="2147483706" r:id="rId29"/>
    <p:sldLayoutId id="2147483707" r:id="rId30"/>
    <p:sldLayoutId id="2147483708" r:id="rId31"/>
    <p:sldLayoutId id="2147483709" r:id="rId32"/>
    <p:sldLayoutId id="2147483710" r:id="rId33"/>
    <p:sldLayoutId id="2147483711" r:id="rId34"/>
    <p:sldLayoutId id="2147483712" r:id="rId35"/>
    <p:sldLayoutId id="2147483713" r:id="rId36"/>
    <p:sldLayoutId id="2147483714" r:id="rId37"/>
    <p:sldLayoutId id="2147483715" r:id="rId38"/>
    <p:sldLayoutId id="2147483716" r:id="rId39"/>
    <p:sldLayoutId id="2147483717" r:id="rId40"/>
    <p:sldLayoutId id="2147483718" r:id="rId41"/>
    <p:sldLayoutId id="2147483719" r:id="rId42"/>
    <p:sldLayoutId id="2147483720" r:id="rId43"/>
    <p:sldLayoutId id="2147483721" r:id="rId44"/>
    <p:sldLayoutId id="2147483722" r:id="rId45"/>
    <p:sldLayoutId id="2147483723" r:id="rId46"/>
    <p:sldLayoutId id="2147483724" r:id="rId47"/>
    <p:sldLayoutId id="2147483725" r:id="rId48"/>
    <p:sldLayoutId id="2147483726" r:id="rId49"/>
    <p:sldLayoutId id="2147483727" r:id="rId50"/>
    <p:sldLayoutId id="2147483728" r:id="rId51"/>
    <p:sldLayoutId id="2147483729" r:id="rId52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0" kern="1200" cap="none" spc="-50" baseline="0" dirty="0" smtClean="0">
          <a:ln w="3175">
            <a:noFill/>
          </a:ln>
          <a:solidFill>
            <a:schemeClr val="tx1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solidFill>
            <a:schemeClr val="tx1"/>
          </a:solidFill>
          <a:latin typeface="+mn-lt"/>
          <a:ea typeface="+mn-ea"/>
          <a:cs typeface="Segoe UI" panose="020B05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  <p15:guide id="31" orient="horz" pos="400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1.xml"/><Relationship Id="rId6" Type="http://schemas.openxmlformats.org/officeDocument/2006/relationships/image" Target="../media/image41.gif"/><Relationship Id="rId5" Type="http://schemas.openxmlformats.org/officeDocument/2006/relationships/image" Target="../media/image40.svg"/><Relationship Id="rId4" Type="http://schemas.openxmlformats.org/officeDocument/2006/relationships/image" Target="../media/image39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hyperlink" Target="https://aka.ms/scs25-copilot-studio" TargetMode="External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45.jpeg"/><Relationship Id="rId5" Type="http://schemas.openxmlformats.org/officeDocument/2006/relationships/image" Target="../media/image44.jpeg"/><Relationship Id="rId4" Type="http://schemas.openxmlformats.org/officeDocument/2006/relationships/image" Target="../media/image43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93A3B864-5E85-99D2-93E5-5CA1F4F35D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Lab 02: Build an agent with Copilot Studio</a:t>
            </a:r>
            <a:endParaRPr lang="en-US" dirty="0"/>
          </a:p>
        </p:txBody>
      </p:sp>
      <p:pic>
        <p:nvPicPr>
          <p:cNvPr id="30" name="Picture placeholder 29" descr="Picture of a group of people attending a conferenece">
            <a:extLst>
              <a:ext uri="{FF2B5EF4-FFF2-40B4-BE49-F238E27FC236}">
                <a16:creationId xmlns:a16="http://schemas.microsoft.com/office/drawing/2014/main" id="{18C88B4D-F554-49C2-A23C-DFE94D4C835B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ChangeAspect="1"/>
          </p:cNvPicPr>
          <p:nvPr>
            <p:ph type="pic" sz="quarter" idx="47"/>
          </p:nvPr>
        </p:nvPicPr>
        <p:blipFill>
          <a:blip r:embed="rId3"/>
          <a:srcRect l="21015" r="21015"/>
          <a:stretch/>
        </p:blipFill>
        <p:spPr>
          <a:xfrm>
            <a:off x="6742557" y="821836"/>
            <a:ext cx="4405503" cy="5066346"/>
          </a:xfrm>
        </p:spPr>
      </p:pic>
      <p:sp>
        <p:nvSpPr>
          <p:cNvPr id="10" name="Freeform: Shape 11">
            <a:extLst>
              <a:ext uri="{FF2B5EF4-FFF2-40B4-BE49-F238E27FC236}">
                <a16:creationId xmlns:a16="http://schemas.microsoft.com/office/drawing/2014/main" id="{01A79B69-242C-3AEB-4A42-7A606A54C6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358497" y="384518"/>
            <a:ext cx="1637958" cy="1873859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98682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94698" y="2946400"/>
                  <a:pt x="4398682" y="3789083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noFill/>
          <a:ln w="19050" cap="flat" cmpd="sng" algn="ctr">
            <a:solidFill>
              <a:schemeClr val="tx2">
                <a:lumMod val="50000"/>
                <a:lumOff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sterama Text SemiBold"/>
              <a:ea typeface="+mn-ea"/>
              <a:cs typeface="+mn-cs"/>
            </a:endParaRPr>
          </a:p>
        </p:txBody>
      </p:sp>
      <p:sp>
        <p:nvSpPr>
          <p:cNvPr id="14" name="Freeform: Shape 11">
            <a:extLst>
              <a:ext uri="{FF2B5EF4-FFF2-40B4-BE49-F238E27FC236}">
                <a16:creationId xmlns:a16="http://schemas.microsoft.com/office/drawing/2014/main" id="{E5D4DE6D-89C8-6FFF-287D-3F3BAD416C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5974436" y="3694919"/>
            <a:ext cx="1637958" cy="1873859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98682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94698" y="2946400"/>
                  <a:pt x="4398682" y="3789083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solidFill>
            <a:schemeClr val="accent4">
              <a:lumMod val="60000"/>
              <a:lumOff val="40000"/>
              <a:alpha val="50196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sterama Text SemiBold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9844792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1345AB9-B93D-7A46-EB16-078D3E1D04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uild an </a:t>
            </a:r>
            <a:r>
              <a:rPr lang="de-DE" dirty="0" err="1"/>
              <a:t>agent</a:t>
            </a:r>
            <a:r>
              <a:rPr lang="de-DE" dirty="0"/>
              <a:t> + </a:t>
            </a:r>
            <a:r>
              <a:rPr lang="de-DE" dirty="0" err="1"/>
              <a:t>add</a:t>
            </a:r>
            <a:r>
              <a:rPr lang="de-DE" dirty="0"/>
              <a:t> YOUR </a:t>
            </a:r>
            <a:r>
              <a:rPr lang="de-DE" dirty="0" err="1"/>
              <a:t>data</a:t>
            </a:r>
            <a:r>
              <a:rPr lang="de-DE" dirty="0"/>
              <a:t>	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ACF75D4-DEE0-C19B-ADEF-53C876122D09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e-DE" dirty="0"/>
              <a:t>The </a:t>
            </a:r>
            <a:r>
              <a:rPr lang="de-DE" dirty="0" err="1"/>
              <a:t>low</a:t>
            </a:r>
            <a:r>
              <a:rPr lang="de-DE" dirty="0"/>
              <a:t> code </a:t>
            </a:r>
            <a:r>
              <a:rPr lang="de-DE" dirty="0" err="1"/>
              <a:t>way</a:t>
            </a:r>
            <a:endParaRPr lang="de-DE" dirty="0"/>
          </a:p>
          <a:p>
            <a:r>
              <a:rPr lang="de-DE" dirty="0"/>
              <a:t>Multiple </a:t>
            </a:r>
            <a:r>
              <a:rPr lang="de-DE" dirty="0" err="1"/>
              <a:t>approach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998988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D10E19-03ED-A023-A5D1-68CBF6BAD2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D5580D04-0012-9147-4990-49D81E506C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/>
          <a:lstStyle/>
          <a:p>
            <a:r>
              <a:rPr lang="en-US" dirty="0"/>
              <a:t>Extend with Prompts</a:t>
            </a:r>
          </a:p>
        </p:txBody>
      </p:sp>
      <p:sp>
        <p:nvSpPr>
          <p:cNvPr id="15" name="Title 13">
            <a:extLst>
              <a:ext uri="{FF2B5EF4-FFF2-40B4-BE49-F238E27FC236}">
                <a16:creationId xmlns:a16="http://schemas.microsoft.com/office/drawing/2014/main" id="{E7F7A118-2CB8-F952-02FF-5EE8D546BBFE}"/>
              </a:ext>
            </a:extLst>
          </p:cNvPr>
          <p:cNvSpPr txBox="1">
            <a:spLocks/>
          </p:cNvSpPr>
          <p:nvPr/>
        </p:nvSpPr>
        <p:spPr>
          <a:xfrm>
            <a:off x="582612" y="1061208"/>
            <a:ext cx="11021125" cy="3077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50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 Semibold"/>
              </a:rPr>
              <a:t>Use prompts to perform specialized actions in your agents</a:t>
            </a:r>
          </a:p>
        </p:txBody>
      </p:sp>
      <p:pic>
        <p:nvPicPr>
          <p:cNvPr id="60" name="Picture 59" descr="A screen capture of the Copilot Studio interface with a new prompt being created. The screen is divided into two main sections: The left side contains instructions and prompt templates, while the right side displays a model response. ">
            <a:extLst>
              <a:ext uri="{FF2B5EF4-FFF2-40B4-BE49-F238E27FC236}">
                <a16:creationId xmlns:a16="http://schemas.microsoft.com/office/drawing/2014/main" id="{D4E139EB-998D-2A11-211B-EC72ED1AF1D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5838" b="5088"/>
          <a:stretch>
            <a:fillRect/>
          </a:stretch>
        </p:blipFill>
        <p:spPr>
          <a:xfrm>
            <a:off x="2786947" y="2143125"/>
            <a:ext cx="6806634" cy="3775086"/>
          </a:xfrm>
          <a:prstGeom prst="roundRect">
            <a:avLst>
              <a:gd name="adj" fmla="val 1518"/>
            </a:avLst>
          </a:prstGeom>
          <a:solidFill>
            <a:srgbClr val="EEEEEE"/>
          </a:solidFill>
        </p:spPr>
      </p:pic>
      <p:sp>
        <p:nvSpPr>
          <p:cNvPr id="43" name="Rectangle: Rounded Corners 42">
            <a:extLst>
              <a:ext uri="{FF2B5EF4-FFF2-40B4-BE49-F238E27FC236}">
                <a16:creationId xmlns:a16="http://schemas.microsoft.com/office/drawing/2014/main" id="{C14CA05F-B46B-27B8-2276-29B576859E09}"/>
              </a:ext>
            </a:extLst>
          </p:cNvPr>
          <p:cNvSpPr>
            <a:spLocks/>
          </p:cNvSpPr>
          <p:nvPr/>
        </p:nvSpPr>
        <p:spPr bwMode="auto">
          <a:xfrm>
            <a:off x="582612" y="1639366"/>
            <a:ext cx="1850140" cy="1002985"/>
          </a:xfrm>
          <a:prstGeom prst="roundRect">
            <a:avLst>
              <a:gd name="adj" fmla="val 17140"/>
            </a:avLst>
          </a:prstGeom>
          <a:solidFill>
            <a:srgbClr val="194449">
              <a:alpha val="10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hoose a specific model (GPT-4o mini, GPT-4o, o1) that is best suited to run a given task</a:t>
            </a:r>
          </a:p>
        </p:txBody>
      </p:sp>
      <p:sp>
        <p:nvSpPr>
          <p:cNvPr id="66" name="Freeform: Shape 65" descr="arrow to model selection">
            <a:extLst>
              <a:ext uri="{FF2B5EF4-FFF2-40B4-BE49-F238E27FC236}">
                <a16:creationId xmlns:a16="http://schemas.microsoft.com/office/drawing/2014/main" id="{02DC9AA2-4E09-6252-2A24-89DA10604B7F}"/>
              </a:ext>
            </a:extLst>
          </p:cNvPr>
          <p:cNvSpPr/>
          <p:nvPr/>
        </p:nvSpPr>
        <p:spPr bwMode="auto">
          <a:xfrm>
            <a:off x="2458402" y="2143125"/>
            <a:ext cx="3049140" cy="754700"/>
          </a:xfrm>
          <a:custGeom>
            <a:avLst/>
            <a:gdLst>
              <a:gd name="connsiteX0" fmla="*/ 0 w 2482850"/>
              <a:gd name="connsiteY0" fmla="*/ 0 h 476250"/>
              <a:gd name="connsiteX1" fmla="*/ 2482850 w 2482850"/>
              <a:gd name="connsiteY1" fmla="*/ 0 h 476250"/>
              <a:gd name="connsiteX2" fmla="*/ 2482850 w 2482850"/>
              <a:gd name="connsiteY2" fmla="*/ 476250 h 476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482850" h="476250">
                <a:moveTo>
                  <a:pt x="0" y="0"/>
                </a:moveTo>
                <a:lnTo>
                  <a:pt x="2482850" y="0"/>
                </a:lnTo>
                <a:lnTo>
                  <a:pt x="2482850" y="476250"/>
                </a:lnTo>
              </a:path>
            </a:pathLst>
          </a:custGeom>
          <a:ln w="19050" cap="rnd">
            <a:gradFill flip="none" rotWithShape="1">
              <a:gsLst>
                <a:gs pos="0">
                  <a:srgbClr val="7656AD"/>
                </a:gs>
                <a:gs pos="80000">
                  <a:srgbClr val="0A6BBA"/>
                </a:gs>
              </a:gsLst>
              <a:lin ang="10800000" scaled="1"/>
              <a:tileRect/>
            </a:gradFill>
            <a:headEnd type="none" w="lg" len="sm"/>
            <a:tailEnd type="arrow" w="lg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421D1F44-834D-AAAC-190C-FB0C9ACF6FFE}"/>
              </a:ext>
            </a:extLst>
          </p:cNvPr>
          <p:cNvSpPr>
            <a:spLocks/>
          </p:cNvSpPr>
          <p:nvPr/>
        </p:nvSpPr>
        <p:spPr bwMode="auto">
          <a:xfrm>
            <a:off x="582612" y="2763527"/>
            <a:ext cx="1850140" cy="754700"/>
          </a:xfrm>
          <a:prstGeom prst="roundRect">
            <a:avLst>
              <a:gd name="adj" fmla="val 21519"/>
            </a:avLst>
          </a:prstGeom>
          <a:solidFill>
            <a:srgbClr val="194449">
              <a:alpha val="10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efine input variables, to process text, documents </a:t>
            </a:r>
            <a:b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</a:b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or images</a:t>
            </a:r>
          </a:p>
        </p:txBody>
      </p:sp>
      <p:sp>
        <p:nvSpPr>
          <p:cNvPr id="67" name="Freeform: Shape 66" descr="arrow to Mode">
            <a:extLst>
              <a:ext uri="{FF2B5EF4-FFF2-40B4-BE49-F238E27FC236}">
                <a16:creationId xmlns:a16="http://schemas.microsoft.com/office/drawing/2014/main" id="{E4C66E4F-67A3-3034-C42A-3ECC6477A7A3}"/>
              </a:ext>
            </a:extLst>
          </p:cNvPr>
          <p:cNvSpPr/>
          <p:nvPr/>
        </p:nvSpPr>
        <p:spPr bwMode="auto">
          <a:xfrm>
            <a:off x="2432752" y="2825649"/>
            <a:ext cx="2493380" cy="120713"/>
          </a:xfrm>
          <a:custGeom>
            <a:avLst/>
            <a:gdLst>
              <a:gd name="connsiteX0" fmla="*/ 0 w 2482850"/>
              <a:gd name="connsiteY0" fmla="*/ 0 h 476250"/>
              <a:gd name="connsiteX1" fmla="*/ 2482850 w 2482850"/>
              <a:gd name="connsiteY1" fmla="*/ 0 h 476250"/>
              <a:gd name="connsiteX2" fmla="*/ 2482850 w 2482850"/>
              <a:gd name="connsiteY2" fmla="*/ 476250 h 476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482850" h="476250">
                <a:moveTo>
                  <a:pt x="0" y="0"/>
                </a:moveTo>
                <a:lnTo>
                  <a:pt x="2482850" y="0"/>
                </a:lnTo>
                <a:lnTo>
                  <a:pt x="2482850" y="476250"/>
                </a:lnTo>
              </a:path>
            </a:pathLst>
          </a:custGeom>
          <a:ln w="19050" cap="rnd">
            <a:gradFill flip="none" rotWithShape="1">
              <a:gsLst>
                <a:gs pos="0">
                  <a:srgbClr val="7656AD"/>
                </a:gs>
                <a:gs pos="80000">
                  <a:srgbClr val="0A6BBA"/>
                </a:gs>
              </a:gsLst>
              <a:lin ang="10800000" scaled="1"/>
              <a:tileRect/>
            </a:gradFill>
            <a:headEnd type="none" w="lg" len="sm"/>
            <a:tailEnd type="arrow" w="lg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8FA01741-ACD2-D64A-CB4D-AEF1DFBDC8A7}"/>
              </a:ext>
            </a:extLst>
          </p:cNvPr>
          <p:cNvSpPr>
            <a:spLocks/>
          </p:cNvSpPr>
          <p:nvPr/>
        </p:nvSpPr>
        <p:spPr bwMode="auto">
          <a:xfrm>
            <a:off x="582612" y="3639403"/>
            <a:ext cx="1850140" cy="675324"/>
          </a:xfrm>
          <a:prstGeom prst="roundRect">
            <a:avLst>
              <a:gd name="adj" fmla="val 26585"/>
            </a:avLst>
          </a:prstGeom>
          <a:solidFill>
            <a:srgbClr val="194449">
              <a:alpha val="10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dd enterprise data as knowledge from Dataverse</a:t>
            </a:r>
          </a:p>
        </p:txBody>
      </p:sp>
      <p:sp>
        <p:nvSpPr>
          <p:cNvPr id="68" name="Freeform: Shape 67" descr="arrow to context options">
            <a:extLst>
              <a:ext uri="{FF2B5EF4-FFF2-40B4-BE49-F238E27FC236}">
                <a16:creationId xmlns:a16="http://schemas.microsoft.com/office/drawing/2014/main" id="{C0747E66-036E-AE86-D8DD-CCA5A5783726}"/>
              </a:ext>
            </a:extLst>
          </p:cNvPr>
          <p:cNvSpPr/>
          <p:nvPr/>
        </p:nvSpPr>
        <p:spPr bwMode="auto">
          <a:xfrm flipV="1">
            <a:off x="2458401" y="3822698"/>
            <a:ext cx="2288021" cy="221453"/>
          </a:xfrm>
          <a:custGeom>
            <a:avLst/>
            <a:gdLst>
              <a:gd name="connsiteX0" fmla="*/ 0 w 2482850"/>
              <a:gd name="connsiteY0" fmla="*/ 0 h 476250"/>
              <a:gd name="connsiteX1" fmla="*/ 2482850 w 2482850"/>
              <a:gd name="connsiteY1" fmla="*/ 0 h 476250"/>
              <a:gd name="connsiteX2" fmla="*/ 2482850 w 2482850"/>
              <a:gd name="connsiteY2" fmla="*/ 476250 h 476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482850" h="476250">
                <a:moveTo>
                  <a:pt x="0" y="0"/>
                </a:moveTo>
                <a:lnTo>
                  <a:pt x="2482850" y="0"/>
                </a:lnTo>
                <a:lnTo>
                  <a:pt x="2482850" y="476250"/>
                </a:lnTo>
              </a:path>
            </a:pathLst>
          </a:custGeom>
          <a:ln w="19050" cap="rnd">
            <a:gradFill flip="none" rotWithShape="1">
              <a:gsLst>
                <a:gs pos="0">
                  <a:srgbClr val="7656AD"/>
                </a:gs>
                <a:gs pos="80000">
                  <a:srgbClr val="0A6BBA"/>
                </a:gs>
              </a:gsLst>
              <a:lin ang="10800000" scaled="1"/>
              <a:tileRect/>
            </a:gradFill>
            <a:headEnd type="none" w="lg" len="sm"/>
            <a:tailEnd type="arrow" w="lg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73F56B79-6459-ACE0-79DC-E8B8FD3D50D7}"/>
              </a:ext>
            </a:extLst>
          </p:cNvPr>
          <p:cNvSpPr>
            <a:spLocks/>
          </p:cNvSpPr>
          <p:nvPr/>
        </p:nvSpPr>
        <p:spPr bwMode="auto">
          <a:xfrm>
            <a:off x="582612" y="4435903"/>
            <a:ext cx="1850140" cy="1079338"/>
          </a:xfrm>
          <a:prstGeom prst="roundRect">
            <a:avLst>
              <a:gd name="adj" fmla="val 15798"/>
            </a:avLst>
          </a:prstGeom>
          <a:solidFill>
            <a:srgbClr val="194449">
              <a:alpha val="10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efine precise prompt, allowing Generative AI to have specific instructions to perform individual tasks</a:t>
            </a:r>
          </a:p>
        </p:txBody>
      </p:sp>
      <p:cxnSp>
        <p:nvCxnSpPr>
          <p:cNvPr id="20" name="Connector: Elbow 19" descr="arrow to precise prompt options">
            <a:extLst>
              <a:ext uri="{FF2B5EF4-FFF2-40B4-BE49-F238E27FC236}">
                <a16:creationId xmlns:a16="http://schemas.microsoft.com/office/drawing/2014/main" id="{FA532082-6645-3045-1B84-84800D67BCA6}"/>
              </a:ext>
            </a:extLst>
          </p:cNvPr>
          <p:cNvCxnSpPr>
            <a:cxnSpLocks/>
          </p:cNvCxnSpPr>
          <p:nvPr/>
        </p:nvCxnSpPr>
        <p:spPr>
          <a:xfrm flipV="1">
            <a:off x="2458402" y="4348163"/>
            <a:ext cx="457201" cy="392906"/>
          </a:xfrm>
          <a:prstGeom prst="bentConnector3">
            <a:avLst/>
          </a:prstGeom>
          <a:ln w="19050" cap="rnd">
            <a:gradFill flip="none" rotWithShape="1">
              <a:gsLst>
                <a:gs pos="0">
                  <a:srgbClr val="7656AD"/>
                </a:gs>
                <a:gs pos="80000">
                  <a:srgbClr val="0A6BBA"/>
                </a:gs>
              </a:gsLst>
              <a:lin ang="10800000" scaled="1"/>
              <a:tileRect/>
            </a:gradFill>
            <a:headEnd type="none" w="lg" len="sm"/>
            <a:tailEnd type="arrow" w="lg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ctangle: Rounded Corners 46">
            <a:extLst>
              <a:ext uri="{FF2B5EF4-FFF2-40B4-BE49-F238E27FC236}">
                <a16:creationId xmlns:a16="http://schemas.microsoft.com/office/drawing/2014/main" id="{B7B112F4-DD2D-3C98-C08F-8CF46D2623C4}"/>
              </a:ext>
            </a:extLst>
          </p:cNvPr>
          <p:cNvSpPr>
            <a:spLocks/>
          </p:cNvSpPr>
          <p:nvPr/>
        </p:nvSpPr>
        <p:spPr bwMode="auto">
          <a:xfrm>
            <a:off x="582612" y="5636419"/>
            <a:ext cx="1850140" cy="634839"/>
          </a:xfrm>
          <a:prstGeom prst="roundRect">
            <a:avLst>
              <a:gd name="adj" fmla="val 30059"/>
            </a:avLst>
          </a:prstGeom>
          <a:solidFill>
            <a:srgbClr val="194449">
              <a:alpha val="10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raft your prompt with Copilot or use prebuilt templates</a:t>
            </a:r>
          </a:p>
        </p:txBody>
      </p:sp>
      <p:cxnSp>
        <p:nvCxnSpPr>
          <p:cNvPr id="24" name="Connector: Elbow 23" descr="arrow to prompt drafting options">
            <a:extLst>
              <a:ext uri="{FF2B5EF4-FFF2-40B4-BE49-F238E27FC236}">
                <a16:creationId xmlns:a16="http://schemas.microsoft.com/office/drawing/2014/main" id="{0C260797-B3DF-CCD1-1337-0689E43C1616}"/>
              </a:ext>
            </a:extLst>
          </p:cNvPr>
          <p:cNvCxnSpPr>
            <a:cxnSpLocks/>
          </p:cNvCxnSpPr>
          <p:nvPr/>
        </p:nvCxnSpPr>
        <p:spPr>
          <a:xfrm flipV="1">
            <a:off x="2458402" y="5403886"/>
            <a:ext cx="457201" cy="444464"/>
          </a:xfrm>
          <a:prstGeom prst="bentConnector3">
            <a:avLst/>
          </a:prstGeom>
          <a:ln w="19050" cap="rnd">
            <a:gradFill flip="none" rotWithShape="1">
              <a:gsLst>
                <a:gs pos="0">
                  <a:srgbClr val="7656AD"/>
                </a:gs>
                <a:gs pos="80000">
                  <a:srgbClr val="0A6BBA"/>
                </a:gs>
              </a:gsLst>
              <a:lin ang="10800000" scaled="1"/>
              <a:tileRect/>
            </a:gradFill>
            <a:headEnd type="none" w="lg" len="sm"/>
            <a:tailEnd type="arrow" w="lg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tangle: Rounded Corners 52">
            <a:extLst>
              <a:ext uri="{FF2B5EF4-FFF2-40B4-BE49-F238E27FC236}">
                <a16:creationId xmlns:a16="http://schemas.microsoft.com/office/drawing/2014/main" id="{F974C56F-71C8-1F82-2DB8-1BE6FE448801}"/>
              </a:ext>
            </a:extLst>
          </p:cNvPr>
          <p:cNvSpPr>
            <a:spLocks/>
          </p:cNvSpPr>
          <p:nvPr/>
        </p:nvSpPr>
        <p:spPr bwMode="auto">
          <a:xfrm>
            <a:off x="9850688" y="1785339"/>
            <a:ext cx="1758700" cy="711040"/>
          </a:xfrm>
          <a:prstGeom prst="roundRect">
            <a:avLst>
              <a:gd name="adj" fmla="val 18012"/>
            </a:avLst>
          </a:prstGeom>
          <a:solidFill>
            <a:srgbClr val="194449">
              <a:alpha val="10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Save to use in agents, flow or apps</a:t>
            </a:r>
          </a:p>
        </p:txBody>
      </p:sp>
      <p:sp>
        <p:nvSpPr>
          <p:cNvPr id="71" name="Freeform: Shape 70" descr="arrow to save options">
            <a:extLst>
              <a:ext uri="{FF2B5EF4-FFF2-40B4-BE49-F238E27FC236}">
                <a16:creationId xmlns:a16="http://schemas.microsoft.com/office/drawing/2014/main" id="{005ABF9A-BE62-41A3-6537-124605C7AB12}"/>
              </a:ext>
            </a:extLst>
          </p:cNvPr>
          <p:cNvSpPr/>
          <p:nvPr/>
        </p:nvSpPr>
        <p:spPr bwMode="auto">
          <a:xfrm flipH="1">
            <a:off x="9137807" y="2143125"/>
            <a:ext cx="707231" cy="402907"/>
          </a:xfrm>
          <a:custGeom>
            <a:avLst/>
            <a:gdLst>
              <a:gd name="connsiteX0" fmla="*/ 0 w 2482850"/>
              <a:gd name="connsiteY0" fmla="*/ 0 h 476250"/>
              <a:gd name="connsiteX1" fmla="*/ 2482850 w 2482850"/>
              <a:gd name="connsiteY1" fmla="*/ 0 h 476250"/>
              <a:gd name="connsiteX2" fmla="*/ 2482850 w 2482850"/>
              <a:gd name="connsiteY2" fmla="*/ 476250 h 476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482850" h="476250">
                <a:moveTo>
                  <a:pt x="0" y="0"/>
                </a:moveTo>
                <a:lnTo>
                  <a:pt x="2482850" y="0"/>
                </a:lnTo>
                <a:lnTo>
                  <a:pt x="2482850" y="476250"/>
                </a:lnTo>
              </a:path>
            </a:pathLst>
          </a:custGeom>
          <a:ln w="19050" cap="rnd">
            <a:gradFill flip="none" rotWithShape="1">
              <a:gsLst>
                <a:gs pos="0">
                  <a:srgbClr val="7656AD"/>
                </a:gs>
                <a:gs pos="80000">
                  <a:srgbClr val="0A6BBA"/>
                </a:gs>
              </a:gsLst>
              <a:lin ang="10800000" scaled="1"/>
              <a:tileRect/>
            </a:gradFill>
            <a:headEnd type="none" w="lg" len="sm"/>
            <a:tailEnd type="arrow" w="lg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55" name="Rectangle: Rounded Corners 54">
            <a:extLst>
              <a:ext uri="{FF2B5EF4-FFF2-40B4-BE49-F238E27FC236}">
                <a16:creationId xmlns:a16="http://schemas.microsoft.com/office/drawing/2014/main" id="{0F3154CC-14C9-C4C4-7D18-EB6A27B4F65D}"/>
              </a:ext>
            </a:extLst>
          </p:cNvPr>
          <p:cNvSpPr>
            <a:spLocks/>
          </p:cNvSpPr>
          <p:nvPr/>
        </p:nvSpPr>
        <p:spPr bwMode="auto">
          <a:xfrm>
            <a:off x="9850688" y="3032445"/>
            <a:ext cx="1758700" cy="754700"/>
          </a:xfrm>
          <a:prstGeom prst="roundRect">
            <a:avLst>
              <a:gd name="adj" fmla="val 22150"/>
            </a:avLst>
          </a:prstGeom>
          <a:solidFill>
            <a:srgbClr val="194449">
              <a:alpha val="10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efine a specific output format (ex: JSON)</a:t>
            </a:r>
          </a:p>
        </p:txBody>
      </p:sp>
      <p:sp>
        <p:nvSpPr>
          <p:cNvPr id="72" name="Freeform: Shape 71" descr="arrow to output options">
            <a:extLst>
              <a:ext uri="{FF2B5EF4-FFF2-40B4-BE49-F238E27FC236}">
                <a16:creationId xmlns:a16="http://schemas.microsoft.com/office/drawing/2014/main" id="{1588BD8B-D838-8631-5909-E3CB6615A767}"/>
              </a:ext>
            </a:extLst>
          </p:cNvPr>
          <p:cNvSpPr/>
          <p:nvPr/>
        </p:nvSpPr>
        <p:spPr bwMode="auto">
          <a:xfrm flipH="1" flipV="1">
            <a:off x="9264013" y="3062285"/>
            <a:ext cx="581025" cy="402903"/>
          </a:xfrm>
          <a:custGeom>
            <a:avLst/>
            <a:gdLst>
              <a:gd name="connsiteX0" fmla="*/ 0 w 2482850"/>
              <a:gd name="connsiteY0" fmla="*/ 0 h 476250"/>
              <a:gd name="connsiteX1" fmla="*/ 2482850 w 2482850"/>
              <a:gd name="connsiteY1" fmla="*/ 0 h 476250"/>
              <a:gd name="connsiteX2" fmla="*/ 2482850 w 2482850"/>
              <a:gd name="connsiteY2" fmla="*/ 476250 h 476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482850" h="476250">
                <a:moveTo>
                  <a:pt x="0" y="0"/>
                </a:moveTo>
                <a:lnTo>
                  <a:pt x="2482850" y="0"/>
                </a:lnTo>
                <a:lnTo>
                  <a:pt x="2482850" y="476250"/>
                </a:lnTo>
              </a:path>
            </a:pathLst>
          </a:custGeom>
          <a:ln w="19050" cap="rnd">
            <a:gradFill flip="none" rotWithShape="1">
              <a:gsLst>
                <a:gs pos="0">
                  <a:srgbClr val="7656AD"/>
                </a:gs>
                <a:gs pos="80000">
                  <a:srgbClr val="0A6BBA"/>
                </a:gs>
              </a:gsLst>
              <a:lin ang="10800000" scaled="1"/>
              <a:tileRect/>
            </a:gradFill>
            <a:headEnd type="none" w="lg" len="sm"/>
            <a:tailEnd type="arrow" w="lg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57" name="Rectangle: Rounded Corners 56">
            <a:extLst>
              <a:ext uri="{FF2B5EF4-FFF2-40B4-BE49-F238E27FC236}">
                <a16:creationId xmlns:a16="http://schemas.microsoft.com/office/drawing/2014/main" id="{207B2534-4090-7A89-9E97-78AB48E0BBEB}"/>
              </a:ext>
            </a:extLst>
          </p:cNvPr>
          <p:cNvSpPr>
            <a:spLocks/>
          </p:cNvSpPr>
          <p:nvPr/>
        </p:nvSpPr>
        <p:spPr bwMode="auto">
          <a:xfrm>
            <a:off x="9850688" y="4348163"/>
            <a:ext cx="1758700" cy="799750"/>
          </a:xfrm>
          <a:prstGeom prst="roundRect">
            <a:avLst>
              <a:gd name="adj" fmla="val 20265"/>
            </a:avLst>
          </a:prstGeom>
          <a:solidFill>
            <a:srgbClr val="194449">
              <a:alpha val="10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est AI action output, directly in the flow </a:t>
            </a:r>
            <a:b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</a:b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of work</a:t>
            </a:r>
          </a:p>
        </p:txBody>
      </p:sp>
      <p:cxnSp>
        <p:nvCxnSpPr>
          <p:cNvPr id="75" name="Straight Connector 74" descr="arrow to test ai action output">
            <a:extLst>
              <a:ext uri="{FF2B5EF4-FFF2-40B4-BE49-F238E27FC236}">
                <a16:creationId xmlns:a16="http://schemas.microsoft.com/office/drawing/2014/main" id="{853FBB83-F658-DC11-9C4A-D75372036B71}"/>
              </a:ext>
            </a:extLst>
          </p:cNvPr>
          <p:cNvCxnSpPr>
            <a:cxnSpLocks/>
          </p:cNvCxnSpPr>
          <p:nvPr/>
        </p:nvCxnSpPr>
        <p:spPr>
          <a:xfrm flipH="1">
            <a:off x="8581390" y="4748038"/>
            <a:ext cx="1263650" cy="0"/>
          </a:xfrm>
          <a:prstGeom prst="line">
            <a:avLst/>
          </a:prstGeom>
          <a:ln w="19050" cap="rnd">
            <a:gradFill flip="none" rotWithShape="1">
              <a:gsLst>
                <a:gs pos="0">
                  <a:srgbClr val="7656AD"/>
                </a:gs>
                <a:gs pos="80000">
                  <a:srgbClr val="0A6BBA"/>
                </a:gs>
              </a:gsLst>
              <a:lin ang="10800000" scaled="1"/>
              <a:tileRect/>
            </a:gradFill>
            <a:headEnd type="none" w="lg" len="sm"/>
            <a:tailEnd type="arrow" w="lg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0733444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2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2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2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2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2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2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2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2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2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2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2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5" grpId="0"/>
      <p:bldP spid="43" grpId="0" animBg="1"/>
      <p:bldP spid="66" grpId="0" animBg="1"/>
      <p:bldP spid="44" grpId="0" animBg="1"/>
      <p:bldP spid="67" grpId="0" animBg="1"/>
      <p:bldP spid="45" grpId="0" animBg="1"/>
      <p:bldP spid="68" grpId="0" animBg="1"/>
      <p:bldP spid="46" grpId="0" animBg="1"/>
      <p:bldP spid="47" grpId="0" animBg="1"/>
      <p:bldP spid="53" grpId="0" animBg="1"/>
      <p:bldP spid="71" grpId="0" animBg="1"/>
      <p:bldP spid="55" grpId="0" animBg="1"/>
      <p:bldP spid="72" grpId="0" animBg="1"/>
      <p:bldP spid="57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25808C-1376-BD30-7C2A-177E7FB14C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4">
            <a:extLst>
              <a:ext uri="{FF2B5EF4-FFF2-40B4-BE49-F238E27FC236}">
                <a16:creationId xmlns:a16="http://schemas.microsoft.com/office/drawing/2014/main" id="{C5E9F647-270F-810F-E895-D4D309FA7D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6382" y="457200"/>
            <a:ext cx="10279831" cy="554038"/>
          </a:xfrm>
        </p:spPr>
        <p:txBody>
          <a:bodyPr wrap="square">
            <a:spAutoFit/>
          </a:bodyPr>
          <a:lstStyle/>
          <a:p>
            <a:pPr lvl="0"/>
            <a:r>
              <a:rPr lang="en-US" dirty="0">
                <a:cs typeface="Segoe UI"/>
              </a:rPr>
              <a:t>Bring Your Own Knowledge with Azure AI Search</a:t>
            </a:r>
            <a:endParaRPr lang="en-US" dirty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7107EF3C-005F-187C-084C-2B985AFAF4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85787" y="438723"/>
            <a:ext cx="559729" cy="559727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2C2CE2C-5F71-ED25-170C-60CCAD1FD85D}"/>
              </a:ext>
            </a:extLst>
          </p:cNvPr>
          <p:cNvSpPr txBox="1"/>
          <p:nvPr/>
        </p:nvSpPr>
        <p:spPr>
          <a:xfrm>
            <a:off x="588962" y="1441451"/>
            <a:ext cx="3476626" cy="1015663"/>
          </a:xfrm>
          <a:prstGeom prst="rect">
            <a:avLst/>
          </a:prstGeom>
          <a:noFill/>
        </p:spPr>
        <p:txBody>
          <a:bodyPr wrap="square" lIns="0" tIns="45720" rIns="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 w="3175">
                  <a:noFill/>
                </a:ln>
                <a:gradFill>
                  <a:gsLst>
                    <a:gs pos="80000">
                      <a:srgbClr val="0A6BBA"/>
                    </a:gs>
                    <a:gs pos="0">
                      <a:srgbClr val="7656AD"/>
                    </a:gs>
                  </a:gsLst>
                  <a:path path="circle">
                    <a:fillToRect l="100000" t="100000"/>
                  </a:path>
                </a:gra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rPr>
              <a:t>Enable agents access to a diverse portfolio of AI models from Azure AI Foundry  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200C3AE-ADDE-FC35-1003-D0D15156A737}"/>
              </a:ext>
            </a:extLst>
          </p:cNvPr>
          <p:cNvSpPr txBox="1"/>
          <p:nvPr/>
        </p:nvSpPr>
        <p:spPr>
          <a:xfrm>
            <a:off x="588962" y="2758334"/>
            <a:ext cx="3525838" cy="258532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Utilize company knowledge on Azure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Leverage and unlock your knowledge with Azure AI Search for your agent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RAG on vectorized indices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Utilize custom RAG built with Azure AI Search in Azure AI Foundr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Custom RAG without code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Easy intuitive experience with no cod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A2EAAA3-2CF1-8568-CD5C-CF8043C2123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4546570" y="1436689"/>
            <a:ext cx="8229630" cy="4478336"/>
          </a:xfrm>
          <a:prstGeom prst="roundRect">
            <a:avLst>
              <a:gd name="adj" fmla="val 7196"/>
            </a:avLst>
          </a:prstGeom>
          <a:solidFill>
            <a:srgbClr val="194449">
              <a:alpha val="10000"/>
            </a:srgbClr>
          </a:solidFill>
          <a:ln w="19050" cap="rnd">
            <a:gradFill flip="none" rotWithShape="1">
              <a:gsLst>
                <a:gs pos="0">
                  <a:srgbClr val="7656AD"/>
                </a:gs>
                <a:gs pos="80000">
                  <a:srgbClr val="0A6BBA"/>
                </a:gs>
              </a:gsLst>
              <a:lin ang="10800000" scaled="1"/>
              <a:tileRect/>
            </a:gradFill>
            <a:headEnd type="none" w="lg" len="sm"/>
            <a:tailEnd type="none" w="lg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932472" fontAlgn="base">
              <a:spcBef>
                <a:spcPct val="0"/>
              </a:spcBef>
              <a:spcAft>
                <a:spcPct val="0"/>
              </a:spcAft>
              <a:defRPr sz="1600" spc="-20">
                <a:ln w="3175">
                  <a:noFill/>
                </a:ln>
                <a:gradFill>
                  <a:gsLst>
                    <a:gs pos="0">
                      <a:srgbClr val="0078D4"/>
                    </a:gs>
                    <a:gs pos="80000">
                      <a:srgbClr val="399A91"/>
                    </a:gs>
                  </a:gsLst>
                  <a:path path="circle">
                    <a:fillToRect l="100000" t="100000"/>
                  </a:path>
                </a:gradFill>
                <a:latin typeface="Segoe UI Semibold"/>
                <a:cs typeface="Segoe UI" panose="020B0502040204020203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-20" normalizeH="0" baseline="0" noProof="0">
              <a:ln w="3175">
                <a:noFill/>
              </a:ln>
              <a:gradFill>
                <a:gsLst>
                  <a:gs pos="0">
                    <a:srgbClr val="0078D4"/>
                  </a:gs>
                  <a:gs pos="80000">
                    <a:srgbClr val="399A91"/>
                  </a:gs>
                </a:gsLst>
                <a:path path="circle">
                  <a:fillToRect l="100000" t="100000"/>
                </a:path>
              </a:gradFill>
              <a:effectLst/>
              <a:uLnTx/>
              <a:uFillTx/>
              <a:latin typeface="Segoe UI Semibold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8" name="Picture 7" descr="A screenshot of a computer">
            <a:extLst>
              <a:ext uri="{FF2B5EF4-FFF2-40B4-BE49-F238E27FC236}">
                <a16:creationId xmlns:a16="http://schemas.microsoft.com/office/drawing/2014/main" id="{08DD5859-A40A-59AC-AA34-C6BFBD53B8E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5993" y="1694160"/>
            <a:ext cx="7132320" cy="3916197"/>
          </a:xfrm>
          <a:prstGeom prst="roundRect">
            <a:avLst>
              <a:gd name="adj" fmla="val 3109"/>
            </a:avLst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54456CA2-2114-7C52-5385-C10DD686F71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588962" y="4690375"/>
            <a:ext cx="2743200" cy="0"/>
          </a:xfrm>
          <a:prstGeom prst="line">
            <a:avLst/>
          </a:prstGeom>
          <a:ln>
            <a:solidFill>
              <a:schemeClr val="tx1">
                <a:alpha val="25000"/>
              </a:schemeClr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C8289774-5168-0914-C6DE-D6FF22EC69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588962" y="3688793"/>
            <a:ext cx="2743200" cy="0"/>
          </a:xfrm>
          <a:prstGeom prst="line">
            <a:avLst/>
          </a:prstGeom>
          <a:ln>
            <a:solidFill>
              <a:schemeClr val="tx1">
                <a:alpha val="25000"/>
              </a:schemeClr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250618733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2" grpId="0"/>
      <p:bldP spid="15" grpId="0"/>
      <p:bldP spid="6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138508E-CF35-8014-2AF8-83D6E17852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ab Scenario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FA1314D-06B0-8750-FEB1-50B579618106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3633150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DC1D35A-D69B-6E35-74F9-9E0649F99E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T Device </a:t>
            </a:r>
            <a:r>
              <a:rPr lang="de-DE" dirty="0" err="1"/>
              <a:t>Ordering</a:t>
            </a:r>
            <a:endParaRPr lang="de-DE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B42C674-8605-F79F-20DB-0DA7F66073E8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e-DE" dirty="0"/>
              <a:t>Internal </a:t>
            </a:r>
            <a:r>
              <a:rPr lang="de-DE" dirty="0" err="1"/>
              <a:t>device</a:t>
            </a:r>
            <a:r>
              <a:rPr lang="de-DE" dirty="0"/>
              <a:t> </a:t>
            </a:r>
            <a:r>
              <a:rPr lang="de-DE" dirty="0" err="1"/>
              <a:t>ordering</a:t>
            </a:r>
            <a:r>
              <a:rPr lang="de-DE" dirty="0"/>
              <a:t> </a:t>
            </a:r>
            <a:r>
              <a:rPr lang="de-DE" dirty="0" err="1"/>
              <a:t>process</a:t>
            </a:r>
            <a:endParaRPr lang="de-DE" dirty="0"/>
          </a:p>
          <a:p>
            <a:r>
              <a:rPr lang="de-DE" dirty="0" err="1"/>
              <a:t>Employees</a:t>
            </a:r>
            <a:r>
              <a:rPr lang="de-DE" dirty="0"/>
              <a:t> </a:t>
            </a:r>
            <a:r>
              <a:rPr lang="de-DE" dirty="0" err="1"/>
              <a:t>should</a:t>
            </a:r>
            <a:r>
              <a:rPr lang="de-DE" dirty="0"/>
              <a:t> in </a:t>
            </a:r>
            <a:r>
              <a:rPr lang="de-DE" dirty="0" err="1"/>
              <a:t>self</a:t>
            </a:r>
            <a:r>
              <a:rPr lang="de-DE" dirty="0"/>
              <a:t> </a:t>
            </a:r>
            <a:r>
              <a:rPr lang="de-DE" dirty="0" err="1"/>
              <a:t>service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abl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pick a </a:t>
            </a:r>
            <a:r>
              <a:rPr lang="de-DE" dirty="0" err="1"/>
              <a:t>fitting</a:t>
            </a:r>
            <a:r>
              <a:rPr lang="de-DE" dirty="0"/>
              <a:t> </a:t>
            </a:r>
            <a:r>
              <a:rPr lang="de-DE" dirty="0" err="1"/>
              <a:t>laptop</a:t>
            </a:r>
            <a:endParaRPr lang="de-DE" dirty="0"/>
          </a:p>
          <a:p>
            <a:r>
              <a:rPr lang="de-DE" dirty="0"/>
              <a:t>Data </a:t>
            </a:r>
            <a:r>
              <a:rPr lang="de-DE" dirty="0" err="1"/>
              <a:t>from</a:t>
            </a:r>
            <a:r>
              <a:rPr lang="de-DE" dirty="0"/>
              <a:t> </a:t>
            </a:r>
            <a:r>
              <a:rPr lang="de-DE" dirty="0" err="1"/>
              <a:t>enterprise</a:t>
            </a:r>
            <a:r>
              <a:rPr lang="de-DE" dirty="0"/>
              <a:t> </a:t>
            </a:r>
            <a:r>
              <a:rPr lang="de-DE" dirty="0" err="1"/>
              <a:t>should</a:t>
            </a:r>
            <a:r>
              <a:rPr lang="de-DE" dirty="0"/>
              <a:t> </a:t>
            </a:r>
            <a:r>
              <a:rPr lang="de-DE" dirty="0" err="1"/>
              <a:t>influenc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agents</a:t>
            </a:r>
            <a:r>
              <a:rPr lang="de-DE" dirty="0"/>
              <a:t> </a:t>
            </a:r>
            <a:r>
              <a:rPr lang="de-DE" dirty="0" err="1"/>
              <a:t>recommendation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0870971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9163286-4FC9-A73A-24E0-CF5E96F4BD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E7FAFC-600B-2FD9-8733-715FBE42DD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b 02</a:t>
            </a:r>
            <a:endParaRPr lang="en-NL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F709404-4FF5-109A-D679-A631D47DCBC6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/>
              <a:t>Build an agent with Copilot Studio</a:t>
            </a:r>
          </a:p>
          <a:p>
            <a:endParaRPr lang="en-US" sz="3200" dirty="0">
              <a:solidFill>
                <a:schemeClr val="accent1"/>
              </a:solidFill>
            </a:endParaRPr>
          </a:p>
          <a:p>
            <a:r>
              <a:rPr lang="en-US" sz="3200" dirty="0">
                <a:solidFill>
                  <a:schemeClr val="accent1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aka.ms/scs25-copilot-studio</a:t>
            </a:r>
            <a:r>
              <a:rPr lang="en-US" sz="3200" dirty="0">
                <a:solidFill>
                  <a:schemeClr val="accent1"/>
                </a:solidFill>
              </a:rPr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04196128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23">
            <a:extLst>
              <a:ext uri="{FF2B5EF4-FFF2-40B4-BE49-F238E27FC236}">
                <a16:creationId xmlns:a16="http://schemas.microsoft.com/office/drawing/2014/main" id="{AD2C8D04-263D-9589-1CFF-A5968D7C33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nk you</a:t>
            </a:r>
          </a:p>
        </p:txBody>
      </p:sp>
      <p:pic>
        <p:nvPicPr>
          <p:cNvPr id="14" name="图片占位符 13" descr="People working in office">
            <a:extLst>
              <a:ext uri="{FF2B5EF4-FFF2-40B4-BE49-F238E27FC236}">
                <a16:creationId xmlns:a16="http://schemas.microsoft.com/office/drawing/2014/main" id="{496155F4-61B2-441D-9F16-788866450DA2}"/>
              </a:ext>
            </a:extLst>
          </p:cNvPr>
          <p:cNvPicPr>
            <a:picLocks noGrp="1" noChangeAspect="1"/>
          </p:cNvPicPr>
          <p:nvPr>
            <p:ph type="pic" sz="quarter" idx="49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pic>
        <p:nvPicPr>
          <p:cNvPr id="16" name="图片占位符 15" descr="People in an office discussing work over a laptop&#10;">
            <a:extLst>
              <a:ext uri="{FF2B5EF4-FFF2-40B4-BE49-F238E27FC236}">
                <a16:creationId xmlns:a16="http://schemas.microsoft.com/office/drawing/2014/main" id="{BCD5762E-DD49-42B3-9CA8-46A4AD7193E2}"/>
              </a:ext>
            </a:extLst>
          </p:cNvPr>
          <p:cNvPicPr>
            <a:picLocks noGrp="1" noChangeAspect="1"/>
          </p:cNvPicPr>
          <p:nvPr>
            <p:ph type="pic" sz="quarter" idx="48"/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pic>
        <p:nvPicPr>
          <p:cNvPr id="18" name="图片占位符 17" descr="Layout of website design sketches on white paper">
            <a:extLst>
              <a:ext uri="{FF2B5EF4-FFF2-40B4-BE49-F238E27FC236}">
                <a16:creationId xmlns:a16="http://schemas.microsoft.com/office/drawing/2014/main" id="{1051CD21-1408-4D13-BF0B-0D7013AD2D0C}"/>
              </a:ext>
            </a:extLst>
          </p:cNvPr>
          <p:cNvPicPr>
            <a:picLocks noGrp="1" noChangeAspect="1"/>
          </p:cNvPicPr>
          <p:nvPr>
            <p:ph type="pic" sz="quarter" idx="51"/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B993E4D5-4AD0-4740-096D-6822944C8FF6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6431280" y="2119250"/>
            <a:ext cx="5028261" cy="959883"/>
          </a:xfrm>
        </p:spPr>
        <p:txBody>
          <a:bodyPr/>
          <a:lstStyle/>
          <a:p>
            <a:r>
              <a:rPr lang="en-US" dirty="0"/>
              <a:t>Please provide feedback</a:t>
            </a:r>
          </a:p>
        </p:txBody>
      </p:sp>
      <p:pic>
        <p:nvPicPr>
          <p:cNvPr id="28" name="Picture Placeholder 27" descr="Businesswoman reviewing sticky notes on a wall">
            <a:extLst>
              <a:ext uri="{FF2B5EF4-FFF2-40B4-BE49-F238E27FC236}">
                <a16:creationId xmlns:a16="http://schemas.microsoft.com/office/drawing/2014/main" id="{B746A775-E65C-70F6-9DB4-E51F7F2DAECE}"/>
              </a:ext>
            </a:extLst>
          </p:cNvPr>
          <p:cNvPicPr>
            <a:picLocks noGrp="1" noChangeAspect="1"/>
          </p:cNvPicPr>
          <p:nvPr>
            <p:ph type="pic" sz="quarter" idx="50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5292794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ffice 主题​​">
  <a:themeElements>
    <a:clrScheme name="Custom 4">
      <a:dk1>
        <a:srgbClr val="000000"/>
      </a:dk1>
      <a:lt1>
        <a:srgbClr val="FFFFFF"/>
      </a:lt1>
      <a:dk2>
        <a:srgbClr val="0F253E"/>
      </a:dk2>
      <a:lt2>
        <a:srgbClr val="E7E6E6"/>
      </a:lt2>
      <a:accent1>
        <a:srgbClr val="4472C4"/>
      </a:accent1>
      <a:accent2>
        <a:srgbClr val="00E0D0"/>
      </a:accent2>
      <a:accent3>
        <a:srgbClr val="DCD3CC"/>
      </a:accent3>
      <a:accent4>
        <a:srgbClr val="00E0D0"/>
      </a:accent4>
      <a:accent5>
        <a:srgbClr val="44668D"/>
      </a:accent5>
      <a:accent6>
        <a:srgbClr val="0F253E"/>
      </a:accent6>
      <a:hlink>
        <a:srgbClr val="AEC0D9"/>
      </a:hlink>
      <a:folHlink>
        <a:srgbClr val="00E0D0"/>
      </a:folHlink>
    </a:clrScheme>
    <a:fontScheme name="Custom 10">
      <a:majorFont>
        <a:latin typeface="Posterama Text Black"/>
        <a:ea typeface=""/>
        <a:cs typeface=""/>
      </a:majorFont>
      <a:minorFont>
        <a:latin typeface="Abad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/>
      <a:lstStyle>
        <a:defPPr marL="0" indent="0" algn="ctr">
          <a:lnSpc>
            <a:spcPct val="100000"/>
          </a:lnSpc>
          <a:spcBef>
            <a:spcPts val="0"/>
          </a:spcBef>
          <a:buFontTx/>
          <a:buNone/>
          <a:defRPr sz="1800" smtClean="0">
            <a:solidFill>
              <a:prstClr val="white"/>
            </a:solidFill>
            <a:latin typeface="Posterama" panose="020B0504020200020000" pitchFamily="34" charset="0"/>
            <a:ea typeface="微软雅黑"/>
            <a:cs typeface="Posterama" panose="020B0504020200020000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CS2025 - PowerPoint Template" id="{E24148D4-1C09-478C-9911-46D0A29B1092}" vid="{5764C6EE-8AB9-4181-B44A-AB4CD91C6FDE}"/>
    </a:ext>
  </a:extLst>
</a:theme>
</file>

<file path=ppt/theme/theme2.xml><?xml version="1.0" encoding="utf-8"?>
<a:theme xmlns:a="http://schemas.openxmlformats.org/drawingml/2006/main" name="1_Microsoft AI Tour 16:9 Template Light">
  <a:themeElements>
    <a:clrScheme name="Custom 44">
      <a:dk1>
        <a:srgbClr val="000000"/>
      </a:dk1>
      <a:lt1>
        <a:srgbClr val="FFFFFF"/>
      </a:lt1>
      <a:dk2>
        <a:srgbClr val="2A446F"/>
      </a:dk2>
      <a:lt2>
        <a:srgbClr val="E8E6DF"/>
      </a:lt2>
      <a:accent1>
        <a:srgbClr val="0078D4"/>
      </a:accent1>
      <a:accent2>
        <a:srgbClr val="49C5B1"/>
      </a:accent2>
      <a:accent3>
        <a:srgbClr val="2A446F"/>
      </a:accent3>
      <a:accent4>
        <a:srgbClr val="BF9474"/>
      </a:accent4>
      <a:accent5>
        <a:srgbClr val="8661C5"/>
      </a:accent5>
      <a:accent6>
        <a:srgbClr val="B1B3B3"/>
      </a:accent6>
      <a:hlink>
        <a:srgbClr val="0078D4"/>
      </a:hlink>
      <a:folHlink>
        <a:srgbClr val="8661C5"/>
      </a:folHlink>
    </a:clrScheme>
    <a:fontScheme name="Microsoft 2019 Brand Templates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err="1" smtClean="0">
            <a:solidFill>
              <a:srgbClr val="FFFFFF"/>
            </a:soli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/>
        </a:defPPr>
      </a:lstStyle>
    </a:txDef>
  </a:objectDefaults>
  <a:extraClrSchemeLst/>
  <a:custClrLst>
    <a:custClr name="Light Brown">
      <a:srgbClr val="E1D3C7"/>
    </a:custClr>
    <a:custClr name="Light Yellow">
      <a:srgbClr val="FFE399"/>
    </a:custClr>
    <a:custClr name="Light Orange">
      <a:srgbClr val="FFA38B"/>
    </a:custClr>
    <a:custClr name="Light Red">
      <a:srgbClr val="FFB3BB"/>
    </a:custClr>
    <a:custClr name="Light Magenta">
      <a:srgbClr val="D59ED7"/>
    </a:custClr>
    <a:custClr name="Light Purple">
      <a:srgbClr val="C5B4E3"/>
    </a:custClr>
    <a:custClr name="Light Blue">
      <a:srgbClr val="8DC8E8"/>
    </a:custClr>
    <a:custClr name="Light Teal">
      <a:srgbClr val="B9DCD2"/>
    </a:custClr>
    <a:custClr name="Light Green">
      <a:srgbClr val="D4EC8E"/>
    </a:custClr>
    <a:custClr name="Blue Black">
      <a:srgbClr val="091F2C"/>
    </a:custClr>
    <a:custClr name="Brown">
      <a:srgbClr val="BF9474"/>
    </a:custClr>
    <a:custClr name="Yellow">
      <a:srgbClr val="FFB900"/>
    </a:custClr>
    <a:custClr name="Orange">
      <a:srgbClr val="FF5C39"/>
    </a:custClr>
    <a:custClr name="Red">
      <a:srgbClr val="F4364C"/>
    </a:custClr>
    <a:custClr name="Magenta">
      <a:srgbClr val="C03BC4"/>
    </a:custClr>
    <a:custClr name="Purple">
      <a:srgbClr val="8661C5"/>
    </a:custClr>
    <a:custClr name="Blue">
      <a:srgbClr val="0078D4"/>
    </a:custClr>
    <a:custClr name="Teal">
      <a:srgbClr val="49C5B1"/>
    </a:custClr>
    <a:custClr name="Green">
      <a:srgbClr val="8DE971"/>
    </a:custClr>
    <a:custClr name="Rich Black">
      <a:srgbClr val="000000"/>
    </a:custClr>
    <a:custClr name="Dark Brown">
      <a:srgbClr val="5C4738"/>
    </a:custClr>
    <a:custClr name="Dark Yellow">
      <a:srgbClr val="7F5A1A"/>
    </a:custClr>
    <a:custClr name="Dark Orange">
      <a:srgbClr val="73391D"/>
    </a:custClr>
    <a:custClr name="Dark Red">
      <a:srgbClr val="73262F"/>
    </a:custClr>
    <a:custClr name="Dark Magenta">
      <a:srgbClr val="702573"/>
    </a:custClr>
    <a:custClr name="Dark Purple">
      <a:srgbClr val="463668"/>
    </a:custClr>
    <a:custClr name="Dark Blue">
      <a:srgbClr val="2A446F"/>
    </a:custClr>
    <a:custClr name="Dark Teal">
      <a:srgbClr val="225B62"/>
    </a:custClr>
    <a:custClr name="Dark Green">
      <a:srgbClr val="07641D"/>
    </a:custClr>
    <a:custClr name="Brown Black">
      <a:srgbClr val="291817"/>
    </a:custClr>
    <a:custClr name="Pure White">
      <a:srgbClr val="FFFFFF"/>
    </a:custClr>
    <a:custClr name="Off White">
      <a:srgbClr val="F4F3F5"/>
    </a:custClr>
    <a:custClr name="Warm White">
      <a:srgbClr val="FFF8F3"/>
    </a:custClr>
    <a:custClr name="Warm Light Gray">
      <a:srgbClr val="E8E6DF"/>
    </a:custClr>
    <a:custClr name="Mid Gray">
      <a:srgbClr val="D7D2CB"/>
    </a:custClr>
    <a:custClr name="Warm Gray">
      <a:srgbClr val="8C8279"/>
    </a:custClr>
    <a:custClr name="Light Gray">
      <a:srgbClr val="D9D9D6"/>
    </a:custClr>
    <a:custClr name="Cool Gray">
      <a:srgbClr val="B1B3B3"/>
    </a:custClr>
    <a:custClr name="Dark Gray">
      <a:srgbClr val="454142"/>
    </a:custClr>
    <a:custClr name="Pure White">
      <a:srgbClr val="FFFFFF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</a:custClrLst>
  <a:extLst>
    <a:ext uri="{05A4C25C-085E-4340-85A3-A5531E510DB2}">
      <thm15:themeFamily xmlns:thm15="http://schemas.microsoft.com/office/thememl/2012/main" name="Presentation6" id="{BC181922-949A-CF42-AE2C-F615C57AD510}" vid="{782B1D66-57CB-D643-ABCB-5CC51FC88270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D91AD582865DC4FAE90A3B70C57AA05" ma:contentTypeVersion="11" ma:contentTypeDescription="Create a new document." ma:contentTypeScope="" ma:versionID="c31e652b9f79f83837c498a3efb172ba">
  <xsd:schema xmlns:xsd="http://www.w3.org/2001/XMLSchema" xmlns:xs="http://www.w3.org/2001/XMLSchema" xmlns:p="http://schemas.microsoft.com/office/2006/metadata/properties" xmlns:ns2="01fceb86-be59-4755-9138-08d251679d60" xmlns:ns3="eaae580a-ac37-41aa-906d-085ccea5f9b3" targetNamespace="http://schemas.microsoft.com/office/2006/metadata/properties" ma:root="true" ma:fieldsID="9c96b32a95387b2397c444c2a005e978" ns2:_="" ns3:_="">
    <xsd:import namespace="01fceb86-be59-4755-9138-08d251679d60"/>
    <xsd:import namespace="eaae580a-ac37-41aa-906d-085ccea5f9b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1fceb86-be59-4755-9138-08d251679d6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e995c3ef-f0dd-4629-83c5-ef0ca6564a1c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dexed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ae580a-ac37-41aa-906d-085ccea5f9b3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559a370b-db42-44c2-a162-4fcb0f508dd3}" ma:internalName="TaxCatchAll" ma:showField="CatchAllData" ma:web="eaae580a-ac37-41aa-906d-085ccea5f9b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eaae580a-ac37-41aa-906d-085ccea5f9b3" xsi:nil="true"/>
    <lcf76f155ced4ddcb4097134ff3c332f xmlns="01fceb86-be59-4755-9138-08d251679d60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0D289803-1D18-47DF-A208-58B291C1CE7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1fceb86-be59-4755-9138-08d251679d60"/>
    <ds:schemaRef ds:uri="eaae580a-ac37-41aa-906d-085ccea5f9b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6F156100-9533-4411-B0C0-FA18F914F7B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2C81503-9DEF-42F3-A99B-D5E0223E195B}">
  <ds:schemaRefs>
    <ds:schemaRef ds:uri="http://schemas.openxmlformats.org/package/2006/metadata/core-properties"/>
    <ds:schemaRef ds:uri="http://schemas.microsoft.com/office/2006/documentManagement/types"/>
    <ds:schemaRef ds:uri="http://www.w3.org/XML/1998/namespace"/>
    <ds:schemaRef ds:uri="http://purl.org/dc/terms/"/>
    <ds:schemaRef ds:uri="http://purl.org/dc/dcmitype/"/>
    <ds:schemaRef ds:uri="http://schemas.microsoft.com/office/infopath/2007/PartnerControls"/>
    <ds:schemaRef ds:uri="http://purl.org/dc/elements/1.1/"/>
    <ds:schemaRef ds:uri="eaae580a-ac37-41aa-906d-085ccea5f9b3"/>
    <ds:schemaRef ds:uri="01fceb86-be59-4755-9138-08d251679d60"/>
    <ds:schemaRef ds:uri="http://schemas.microsoft.com/office/2006/metadata/properties"/>
  </ds:schemaRefs>
</ds:datastoreItem>
</file>

<file path=docMetadata/LabelInfo.xml><?xml version="1.0" encoding="utf-8"?>
<clbl:labelList xmlns:clbl="http://schemas.microsoft.com/office/2020/mipLabelMetadata">
  <clbl:label id="{87ba5c36-b7cf-4793-bbc2-bd5b3a9f95ca}" enabled="1" method="Privileged" siteId="{72f988bf-86f1-41af-91ab-2d7cd011db47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SCS2025 - PowerPoint Template[1]</Template>
  <TotalTime>0</TotalTime>
  <Words>619</Words>
  <Application>Microsoft Office PowerPoint</Application>
  <PresentationFormat>Widescreen</PresentationFormat>
  <Paragraphs>54</Paragraphs>
  <Slides>8</Slides>
  <Notes>4</Notes>
  <HiddenSlides>0</HiddenSlides>
  <MMClips>0</MMClips>
  <ScaleCrop>false</ScaleCrop>
  <HeadingPairs>
    <vt:vector size="6" baseType="variant">
      <vt:variant>
        <vt:lpstr>Fonts Used</vt:lpstr>
      </vt:variant>
      <vt:variant>
        <vt:i4>12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8</vt:i4>
      </vt:variant>
    </vt:vector>
  </HeadingPairs>
  <TitlesOfParts>
    <vt:vector size="22" baseType="lpstr">
      <vt:lpstr>等线</vt:lpstr>
      <vt:lpstr>Abadi</vt:lpstr>
      <vt:lpstr>Arial</vt:lpstr>
      <vt:lpstr>Calibri</vt:lpstr>
      <vt:lpstr>Consolas</vt:lpstr>
      <vt:lpstr>Posterama</vt:lpstr>
      <vt:lpstr>Posterama Text Black</vt:lpstr>
      <vt:lpstr>Posterama Text SemiBold</vt:lpstr>
      <vt:lpstr>Segoe Sans Display Semibold</vt:lpstr>
      <vt:lpstr>Segoe UI</vt:lpstr>
      <vt:lpstr>Segoe UI Semibold</vt:lpstr>
      <vt:lpstr>Wingdings</vt:lpstr>
      <vt:lpstr>Office 主题​​</vt:lpstr>
      <vt:lpstr>1_Microsoft AI Tour 16:9 Template Light</vt:lpstr>
      <vt:lpstr>Lab 02: Build an agent with Copilot Studio</vt:lpstr>
      <vt:lpstr>Build an agent + add YOUR data </vt:lpstr>
      <vt:lpstr>Extend with Prompts</vt:lpstr>
      <vt:lpstr>Bring Your Own Knowledge with Azure AI Search</vt:lpstr>
      <vt:lpstr>Lab Scenario</vt:lpstr>
      <vt:lpstr>IT Device Ordering</vt:lpstr>
      <vt:lpstr>Lab 02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Aaron Rendell</dc:creator>
  <cp:keywords>SCS2022; South Coast Summit</cp:keywords>
  <cp:lastModifiedBy>Daniel Laskewitz</cp:lastModifiedBy>
  <cp:revision>3</cp:revision>
  <dcterms:created xsi:type="dcterms:W3CDTF">2025-10-11T10:44:32Z</dcterms:created>
  <dcterms:modified xsi:type="dcterms:W3CDTF">2025-10-17T12:28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D91AD582865DC4FAE90A3B70C57AA05</vt:lpwstr>
  </property>
  <property fmtid="{D5CDD505-2E9C-101B-9397-08002B2CF9AE}" pid="3" name="MediaServiceImageTags">
    <vt:lpwstr/>
  </property>
</Properties>
</file>